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5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6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8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9.xml" ContentType="application/vnd.openxmlformats-officedocument.theme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0.xml" ContentType="application/vnd.openxmlformats-officedocument.theme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11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12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13.xml" ContentType="application/vnd.openxmlformats-officedocument.theme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14.xml" ContentType="application/vnd.openxmlformats-officedocument.theme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theme/theme15.xml" ContentType="application/vnd.openxmlformats-officedocument.theme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theme/theme16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harts/chart4.xml" ContentType="application/vnd.openxmlformats-officedocument.drawingml.chart+xml"/>
  <Override PartName="/ppt/drawings/drawing1.xml" ContentType="application/vnd.openxmlformats-officedocument.drawingml.chartshape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tags/tag3.xml" ContentType="application/vnd.openxmlformats-officedocument.presentationml.tags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86" r:id="rId2"/>
    <p:sldMasterId id="2147483740" r:id="rId3"/>
    <p:sldMasterId id="2147483757" r:id="rId4"/>
    <p:sldMasterId id="2147483776" r:id="rId5"/>
    <p:sldMasterId id="2147483793" r:id="rId6"/>
    <p:sldMasterId id="2147483810" r:id="rId7"/>
    <p:sldMasterId id="2147483823" r:id="rId8"/>
    <p:sldMasterId id="2147483840" r:id="rId9"/>
    <p:sldMasterId id="2147483857" r:id="rId10"/>
    <p:sldMasterId id="2147483874" r:id="rId11"/>
    <p:sldMasterId id="2147483891" r:id="rId12"/>
    <p:sldMasterId id="2147483908" r:id="rId13"/>
    <p:sldMasterId id="2147483925" r:id="rId14"/>
    <p:sldMasterId id="2147483942" r:id="rId15"/>
    <p:sldMasterId id="2147483959" r:id="rId16"/>
  </p:sldMasterIdLst>
  <p:notesMasterIdLst>
    <p:notesMasterId r:id="rId60"/>
  </p:notesMasterIdLst>
  <p:handoutMasterIdLst>
    <p:handoutMasterId r:id="rId61"/>
  </p:handoutMasterIdLst>
  <p:sldIdLst>
    <p:sldId id="269" r:id="rId17"/>
    <p:sldId id="400" r:id="rId18"/>
    <p:sldId id="401" r:id="rId19"/>
    <p:sldId id="273" r:id="rId20"/>
    <p:sldId id="312" r:id="rId21"/>
    <p:sldId id="313" r:id="rId22"/>
    <p:sldId id="314" r:id="rId23"/>
    <p:sldId id="315" r:id="rId24"/>
    <p:sldId id="316" r:id="rId25"/>
    <p:sldId id="453" r:id="rId26"/>
    <p:sldId id="420" r:id="rId27"/>
    <p:sldId id="419" r:id="rId28"/>
    <p:sldId id="421" r:id="rId29"/>
    <p:sldId id="424" r:id="rId30"/>
    <p:sldId id="425" r:id="rId31"/>
    <p:sldId id="422" r:id="rId32"/>
    <p:sldId id="426" r:id="rId33"/>
    <p:sldId id="423" r:id="rId34"/>
    <p:sldId id="418" r:id="rId35"/>
    <p:sldId id="325" r:id="rId36"/>
    <p:sldId id="455" r:id="rId37"/>
    <p:sldId id="456" r:id="rId38"/>
    <p:sldId id="457" r:id="rId39"/>
    <p:sldId id="458" r:id="rId40"/>
    <p:sldId id="459" r:id="rId41"/>
    <p:sldId id="460" r:id="rId42"/>
    <p:sldId id="326" r:id="rId43"/>
    <p:sldId id="342" r:id="rId44"/>
    <p:sldId id="343" r:id="rId45"/>
    <p:sldId id="334" r:id="rId46"/>
    <p:sldId id="331" r:id="rId47"/>
    <p:sldId id="409" r:id="rId48"/>
    <p:sldId id="427" r:id="rId49"/>
    <p:sldId id="428" r:id="rId50"/>
    <p:sldId id="431" r:id="rId51"/>
    <p:sldId id="433" r:id="rId52"/>
    <p:sldId id="434" r:id="rId53"/>
    <p:sldId id="451" r:id="rId54"/>
    <p:sldId id="452" r:id="rId55"/>
    <p:sldId id="454" r:id="rId56"/>
    <p:sldId id="406" r:id="rId57"/>
    <p:sldId id="407" r:id="rId58"/>
    <p:sldId id="408" r:id="rId59"/>
  </p:sldIdLst>
  <p:sldSz cx="9144000" cy="5715000" type="screen16x10"/>
  <p:notesSz cx="7010400" cy="9296400"/>
  <p:defaultTextStyle>
    <a:defPPr>
      <a:defRPr lang="en-US"/>
    </a:defPPr>
    <a:lvl1pPr marL="0" algn="l" defTabSz="457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5" algn="l" defTabSz="457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69" algn="l" defTabSz="457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04" algn="l" defTabSz="457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39" algn="l" defTabSz="457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74" algn="l" defTabSz="457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09" algn="l" defTabSz="457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44" algn="l" defTabSz="457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78" algn="l" defTabSz="457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Key Pages" id="{5712218A-5D20-834F-B767-D3D5DD6322A6}">
          <p14:sldIdLst>
            <p14:sldId id="269"/>
            <p14:sldId id="400"/>
            <p14:sldId id="401"/>
            <p14:sldId id="273"/>
            <p14:sldId id="312"/>
            <p14:sldId id="313"/>
            <p14:sldId id="314"/>
            <p14:sldId id="315"/>
            <p14:sldId id="316"/>
            <p14:sldId id="453"/>
            <p14:sldId id="420"/>
            <p14:sldId id="419"/>
            <p14:sldId id="421"/>
            <p14:sldId id="424"/>
            <p14:sldId id="425"/>
            <p14:sldId id="422"/>
            <p14:sldId id="426"/>
            <p14:sldId id="423"/>
            <p14:sldId id="418"/>
            <p14:sldId id="325"/>
            <p14:sldId id="455"/>
            <p14:sldId id="456"/>
            <p14:sldId id="457"/>
            <p14:sldId id="458"/>
            <p14:sldId id="459"/>
            <p14:sldId id="460"/>
            <p14:sldId id="326"/>
            <p14:sldId id="342"/>
            <p14:sldId id="343"/>
            <p14:sldId id="334"/>
            <p14:sldId id="331"/>
            <p14:sldId id="409"/>
            <p14:sldId id="427"/>
            <p14:sldId id="428"/>
            <p14:sldId id="431"/>
            <p14:sldId id="433"/>
            <p14:sldId id="434"/>
            <p14:sldId id="451"/>
            <p14:sldId id="452"/>
            <p14:sldId id="454"/>
            <p14:sldId id="406"/>
            <p14:sldId id="407"/>
            <p14:sldId id="40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389">
          <p15:clr>
            <a:srgbClr val="A4A3A4"/>
          </p15:clr>
        </p15:guide>
        <p15:guide id="2" pos="547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171716"/>
    <a:srgbClr val="7C0622"/>
    <a:srgbClr val="72061F"/>
    <a:srgbClr val="191918"/>
    <a:srgbClr val="6C1824"/>
    <a:srgbClr val="5F05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53" autoAdjust="0"/>
    <p:restoredTop sz="72657" autoAdjust="0"/>
  </p:normalViewPr>
  <p:slideViewPr>
    <p:cSldViewPr snapToGrid="0" snapToObjects="1">
      <p:cViewPr varScale="1">
        <p:scale>
          <a:sx n="75" d="100"/>
          <a:sy n="75" d="100"/>
        </p:scale>
        <p:origin x="1308" y="54"/>
      </p:cViewPr>
      <p:guideLst>
        <p:guide orient="horz" pos="3389"/>
        <p:guide pos="5475"/>
      </p:guideLst>
    </p:cSldViewPr>
  </p:slideViewPr>
  <p:outlineViewPr>
    <p:cViewPr>
      <p:scale>
        <a:sx n="33" d="100"/>
        <a:sy n="33" d="100"/>
      </p:scale>
      <p:origin x="0" y="437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9" Type="http://schemas.openxmlformats.org/officeDocument/2006/relationships/slide" Target="slides/slide23.xml"/><Relationship Id="rId21" Type="http://schemas.openxmlformats.org/officeDocument/2006/relationships/slide" Target="slides/slide5.xml"/><Relationship Id="rId34" Type="http://schemas.openxmlformats.org/officeDocument/2006/relationships/slide" Target="slides/slide18.xml"/><Relationship Id="rId42" Type="http://schemas.openxmlformats.org/officeDocument/2006/relationships/slide" Target="slides/slide26.xml"/><Relationship Id="rId47" Type="http://schemas.openxmlformats.org/officeDocument/2006/relationships/slide" Target="slides/slide31.xml"/><Relationship Id="rId50" Type="http://schemas.openxmlformats.org/officeDocument/2006/relationships/slide" Target="slides/slide34.xml"/><Relationship Id="rId55" Type="http://schemas.openxmlformats.org/officeDocument/2006/relationships/slide" Target="slides/slide39.xml"/><Relationship Id="rId63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4.xml"/><Relationship Id="rId29" Type="http://schemas.openxmlformats.org/officeDocument/2006/relationships/slide" Target="slides/slide13.xml"/><Relationship Id="rId41" Type="http://schemas.openxmlformats.org/officeDocument/2006/relationships/slide" Target="slides/slide25.xml"/><Relationship Id="rId54" Type="http://schemas.openxmlformats.org/officeDocument/2006/relationships/slide" Target="slides/slide38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8.xml"/><Relationship Id="rId32" Type="http://schemas.openxmlformats.org/officeDocument/2006/relationships/slide" Target="slides/slide16.xml"/><Relationship Id="rId37" Type="http://schemas.openxmlformats.org/officeDocument/2006/relationships/slide" Target="slides/slide21.xml"/><Relationship Id="rId40" Type="http://schemas.openxmlformats.org/officeDocument/2006/relationships/slide" Target="slides/slide24.xml"/><Relationship Id="rId45" Type="http://schemas.openxmlformats.org/officeDocument/2006/relationships/slide" Target="slides/slide29.xml"/><Relationship Id="rId53" Type="http://schemas.openxmlformats.org/officeDocument/2006/relationships/slide" Target="slides/slide37.xml"/><Relationship Id="rId58" Type="http://schemas.openxmlformats.org/officeDocument/2006/relationships/slide" Target="slides/slide42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slide" Target="slides/slide20.xml"/><Relationship Id="rId49" Type="http://schemas.openxmlformats.org/officeDocument/2006/relationships/slide" Target="slides/slide33.xml"/><Relationship Id="rId57" Type="http://schemas.openxmlformats.org/officeDocument/2006/relationships/slide" Target="slides/slide41.xml"/><Relationship Id="rId61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3.xml"/><Relationship Id="rId31" Type="http://schemas.openxmlformats.org/officeDocument/2006/relationships/slide" Target="slides/slide15.xml"/><Relationship Id="rId44" Type="http://schemas.openxmlformats.org/officeDocument/2006/relationships/slide" Target="slides/slide28.xml"/><Relationship Id="rId52" Type="http://schemas.openxmlformats.org/officeDocument/2006/relationships/slide" Target="slides/slide36.xml"/><Relationship Id="rId60" Type="http://schemas.openxmlformats.org/officeDocument/2006/relationships/notesMaster" Target="notesMasters/notesMaster1.xml"/><Relationship Id="rId65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slide" Target="slides/slide19.xml"/><Relationship Id="rId43" Type="http://schemas.openxmlformats.org/officeDocument/2006/relationships/slide" Target="slides/slide27.xml"/><Relationship Id="rId48" Type="http://schemas.openxmlformats.org/officeDocument/2006/relationships/slide" Target="slides/slide32.xml"/><Relationship Id="rId56" Type="http://schemas.openxmlformats.org/officeDocument/2006/relationships/slide" Target="slides/slide40.xml"/><Relationship Id="rId64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5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slide" Target="slides/slide17.xml"/><Relationship Id="rId38" Type="http://schemas.openxmlformats.org/officeDocument/2006/relationships/slide" Target="slides/slide22.xml"/><Relationship Id="rId46" Type="http://schemas.openxmlformats.org/officeDocument/2006/relationships/slide" Target="slides/slide30.xml"/><Relationship Id="rId59" Type="http://schemas.openxmlformats.org/officeDocument/2006/relationships/slide" Target="slides/slide4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brinkman-laura\Desktop\Crime%20Lab\MacArthur\Youth%20Violence%20paper\Points%20for%20MacA%20Paper_20110205.xls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auser\Desktop\Work\Crime%20Lab\homicides%20total%20and%20firearm%202007%20by%20age%20groups.xls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ueifs.uchicago.edu\jquinn1\BAM%20II\Presentations\Chicago%20Society%20Expo%2020150305\Mortality%20Rate%20by%20Cause%20of%20Death.xlsx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\\ueifs.uchicago.edu\uei\UEL\BAM%20II\Full%20Scale%20Study\year%201%20data%20and%20analysis\papers\the%2072%20hour%20paper\year%201%20outcome%20graphs%202015012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600"/>
            </a:pPr>
            <a:r>
              <a:rPr lang="en-US" sz="1400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ercent of Crime Committed by Age Group, 2009</a:t>
            </a:r>
          </a:p>
        </c:rich>
      </c:tx>
      <c:layout>
        <c:manualLayout>
          <c:xMode val="edge"/>
          <c:yMode val="edge"/>
          <c:x val="0.13784084943927499"/>
          <c:y val="3.5714285714285698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1502266762109305E-2"/>
          <c:y val="0.19435695538057701"/>
          <c:w val="0.87794225721784802"/>
          <c:h val="0.50336661042369701"/>
        </c:manualLayout>
      </c:layout>
      <c:lineChart>
        <c:grouping val="standard"/>
        <c:varyColors val="0"/>
        <c:ser>
          <c:idx val="0"/>
          <c:order val="0"/>
          <c:tx>
            <c:strRef>
              <c:f>'Age Crime Curve'!$F$2</c:f>
              <c:strCache>
                <c:ptCount val="1"/>
                <c:pt idx="0">
                  <c:v>Murder and nonnegligent manslaughter</c:v>
                </c:pt>
              </c:strCache>
            </c:strRef>
          </c:tx>
          <c:marker>
            <c:symbol val="none"/>
          </c:marker>
          <c:cat>
            <c:strRef>
              <c:f>'Age Crime Curve'!$E$3:$E$15</c:f>
              <c:strCache>
                <c:ptCount val="13"/>
                <c:pt idx="0">
                  <c:v>Under 10</c:v>
                </c:pt>
                <c:pt idx="1">
                  <c:v>11-15</c:v>
                </c:pt>
                <c:pt idx="2">
                  <c:v>16-20</c:v>
                </c:pt>
                <c:pt idx="3">
                  <c:v>20-24</c:v>
                </c:pt>
                <c:pt idx="4">
                  <c:v>25-29</c:v>
                </c:pt>
                <c:pt idx="5">
                  <c:v>30-34</c:v>
                </c:pt>
                <c:pt idx="6">
                  <c:v>35-39</c:v>
                </c:pt>
                <c:pt idx="7">
                  <c:v>40-44</c:v>
                </c:pt>
                <c:pt idx="8">
                  <c:v>45-49</c:v>
                </c:pt>
                <c:pt idx="9">
                  <c:v>50-54</c:v>
                </c:pt>
                <c:pt idx="10">
                  <c:v>55-59</c:v>
                </c:pt>
                <c:pt idx="11">
                  <c:v>60-64</c:v>
                </c:pt>
                <c:pt idx="12">
                  <c:v>65+</c:v>
                </c:pt>
              </c:strCache>
            </c:strRef>
          </c:cat>
          <c:val>
            <c:numRef>
              <c:f>'Age Crime Curve'!$F$3:$F$15</c:f>
              <c:numCache>
                <c:formatCode>General</c:formatCode>
                <c:ptCount val="13"/>
                <c:pt idx="0">
                  <c:v>2.0460358056265999E-4</c:v>
                </c:pt>
                <c:pt idx="1">
                  <c:v>2.3938618925831202E-2</c:v>
                </c:pt>
                <c:pt idx="2">
                  <c:v>0.268849104859335</c:v>
                </c:pt>
                <c:pt idx="3">
                  <c:v>0.25790281329923298</c:v>
                </c:pt>
                <c:pt idx="4">
                  <c:v>0.168695652173913</c:v>
                </c:pt>
                <c:pt idx="5">
                  <c:v>9.9130434782608703E-2</c:v>
                </c:pt>
                <c:pt idx="6">
                  <c:v>6.9872122762148395E-2</c:v>
                </c:pt>
                <c:pt idx="7">
                  <c:v>5.4629156010230197E-2</c:v>
                </c:pt>
                <c:pt idx="8">
                  <c:v>4.7468030690537101E-2</c:v>
                </c:pt>
                <c:pt idx="9">
                  <c:v>3.02813299232737E-2</c:v>
                </c:pt>
                <c:pt idx="10">
                  <c:v>1.6777493606138099E-2</c:v>
                </c:pt>
                <c:pt idx="11">
                  <c:v>1.2583120204603599E-2</c:v>
                </c:pt>
                <c:pt idx="12">
                  <c:v>1.16624040920716E-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Age Crime Curve'!$G$2</c:f>
              <c:strCache>
                <c:ptCount val="1"/>
                <c:pt idx="0">
                  <c:v>Violent crime</c:v>
                </c:pt>
              </c:strCache>
            </c:strRef>
          </c:tx>
          <c:marker>
            <c:symbol val="none"/>
          </c:marker>
          <c:cat>
            <c:strRef>
              <c:f>'Age Crime Curve'!$E$3:$E$15</c:f>
              <c:strCache>
                <c:ptCount val="13"/>
                <c:pt idx="0">
                  <c:v>Under 10</c:v>
                </c:pt>
                <c:pt idx="1">
                  <c:v>11-15</c:v>
                </c:pt>
                <c:pt idx="2">
                  <c:v>16-20</c:v>
                </c:pt>
                <c:pt idx="3">
                  <c:v>20-24</c:v>
                </c:pt>
                <c:pt idx="4">
                  <c:v>25-29</c:v>
                </c:pt>
                <c:pt idx="5">
                  <c:v>30-34</c:v>
                </c:pt>
                <c:pt idx="6">
                  <c:v>35-39</c:v>
                </c:pt>
                <c:pt idx="7">
                  <c:v>40-44</c:v>
                </c:pt>
                <c:pt idx="8">
                  <c:v>45-49</c:v>
                </c:pt>
                <c:pt idx="9">
                  <c:v>50-54</c:v>
                </c:pt>
                <c:pt idx="10">
                  <c:v>55-59</c:v>
                </c:pt>
                <c:pt idx="11">
                  <c:v>60-64</c:v>
                </c:pt>
                <c:pt idx="12">
                  <c:v>65+</c:v>
                </c:pt>
              </c:strCache>
            </c:strRef>
          </c:cat>
          <c:val>
            <c:numRef>
              <c:f>'Age Crime Curve'!$G$3:$G$15</c:f>
              <c:numCache>
                <c:formatCode>General</c:formatCode>
                <c:ptCount val="13"/>
                <c:pt idx="0">
                  <c:v>8.4444163206347104E-4</c:v>
                </c:pt>
                <c:pt idx="1">
                  <c:v>6.6082467253339106E-2</c:v>
                </c:pt>
                <c:pt idx="2">
                  <c:v>0.22640418424101699</c:v>
                </c:pt>
                <c:pt idx="3">
                  <c:v>0.19855070250124901</c:v>
                </c:pt>
                <c:pt idx="4">
                  <c:v>0.14986766050391601</c:v>
                </c:pt>
                <c:pt idx="5">
                  <c:v>0.105450467061321</c:v>
                </c:pt>
                <c:pt idx="6">
                  <c:v>8.5181685872076904E-2</c:v>
                </c:pt>
                <c:pt idx="7">
                  <c:v>7.5288408456635703E-2</c:v>
                </c:pt>
                <c:pt idx="8">
                  <c:v>6.3533868219100995E-2</c:v>
                </c:pt>
                <c:pt idx="9">
                  <c:v>3.8637023201415703E-2</c:v>
                </c:pt>
                <c:pt idx="10">
                  <c:v>1.8800281916947999E-2</c:v>
                </c:pt>
                <c:pt idx="11">
                  <c:v>8.6473441546964704E-3</c:v>
                </c:pt>
                <c:pt idx="12">
                  <c:v>7.4188670517204196E-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Age Crime Curve'!$H$2</c:f>
              <c:strCache>
                <c:ptCount val="1"/>
                <c:pt idx="0">
                  <c:v>Property crime</c:v>
                </c:pt>
              </c:strCache>
            </c:strRef>
          </c:tx>
          <c:marker>
            <c:symbol val="none"/>
          </c:marker>
          <c:cat>
            <c:strRef>
              <c:f>'Age Crime Curve'!$E$3:$E$15</c:f>
              <c:strCache>
                <c:ptCount val="13"/>
                <c:pt idx="0">
                  <c:v>Under 10</c:v>
                </c:pt>
                <c:pt idx="1">
                  <c:v>11-15</c:v>
                </c:pt>
                <c:pt idx="2">
                  <c:v>16-20</c:v>
                </c:pt>
                <c:pt idx="3">
                  <c:v>20-24</c:v>
                </c:pt>
                <c:pt idx="4">
                  <c:v>25-29</c:v>
                </c:pt>
                <c:pt idx="5">
                  <c:v>30-34</c:v>
                </c:pt>
                <c:pt idx="6">
                  <c:v>35-39</c:v>
                </c:pt>
                <c:pt idx="7">
                  <c:v>40-44</c:v>
                </c:pt>
                <c:pt idx="8">
                  <c:v>45-49</c:v>
                </c:pt>
                <c:pt idx="9">
                  <c:v>50-54</c:v>
                </c:pt>
                <c:pt idx="10">
                  <c:v>55-59</c:v>
                </c:pt>
                <c:pt idx="11">
                  <c:v>60-64</c:v>
                </c:pt>
                <c:pt idx="12">
                  <c:v>65+</c:v>
                </c:pt>
              </c:strCache>
            </c:strRef>
          </c:cat>
          <c:val>
            <c:numRef>
              <c:f>'Age Crime Curve'!$H$3:$H$15</c:f>
              <c:numCache>
                <c:formatCode>General</c:formatCode>
                <c:ptCount val="13"/>
                <c:pt idx="0">
                  <c:v>1.4799314865462799E-3</c:v>
                </c:pt>
                <c:pt idx="1">
                  <c:v>0.113331211149061</c:v>
                </c:pt>
                <c:pt idx="2">
                  <c:v>0.30972841395443301</c:v>
                </c:pt>
                <c:pt idx="3">
                  <c:v>0.181748290449149</c:v>
                </c:pt>
                <c:pt idx="4">
                  <c:v>0.11631005696312501</c:v>
                </c:pt>
                <c:pt idx="5">
                  <c:v>8.0474833863636103E-2</c:v>
                </c:pt>
                <c:pt idx="6">
                  <c:v>6.8336767280591307E-2</c:v>
                </c:pt>
                <c:pt idx="7">
                  <c:v>6.28616778787114E-2</c:v>
                </c:pt>
                <c:pt idx="8">
                  <c:v>5.3615574106820801E-2</c:v>
                </c:pt>
                <c:pt idx="9">
                  <c:v>3.2619821882542997E-2</c:v>
                </c:pt>
                <c:pt idx="10">
                  <c:v>1.54337798194878E-2</c:v>
                </c:pt>
                <c:pt idx="11">
                  <c:v>6.9228960806274296E-3</c:v>
                </c:pt>
                <c:pt idx="12">
                  <c:v>5.3947773823830496E-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58298912"/>
        <c:axId val="256237616"/>
      </c:lineChart>
      <c:catAx>
        <c:axId val="258298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Graphik Regular"/>
              </a:defRPr>
            </a:pPr>
            <a:endParaRPr lang="es-MX"/>
          </a:p>
        </c:txPr>
        <c:crossAx val="256237616"/>
        <c:crosses val="autoZero"/>
        <c:auto val="1"/>
        <c:lblAlgn val="ctr"/>
        <c:lblOffset val="100"/>
        <c:noMultiLvlLbl val="0"/>
      </c:catAx>
      <c:valAx>
        <c:axId val="256237616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900">
                <a:latin typeface="Graphik Regular"/>
              </a:defRPr>
            </a:pPr>
            <a:endParaRPr lang="es-MX"/>
          </a:p>
        </c:txPr>
        <c:crossAx val="25829891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92385349558578"/>
          <c:y val="0.81432438132733398"/>
          <c:w val="0.642502028155571"/>
          <c:h val="0.167818475815523"/>
        </c:manualLayout>
      </c:layout>
      <c:overlay val="0"/>
      <c:txPr>
        <a:bodyPr/>
        <a:lstStyle/>
        <a:p>
          <a:pPr>
            <a:defRPr sz="1000">
              <a:latin typeface="Helvetica" panose="020B0604020202020204" pitchFamily="34" charset="0"/>
              <a:cs typeface="Helvetica" panose="020B0604020202020204" pitchFamily="34" charset="0"/>
            </a:defRPr>
          </a:pPr>
          <a:endParaRPr lang="es-MX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600"/>
            </a:pPr>
            <a:r>
              <a:rPr lang="en-US" sz="1400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Number of Homicides in the United States, 2007</a:t>
            </a:r>
          </a:p>
        </c:rich>
      </c:tx>
      <c:layout>
        <c:manualLayout>
          <c:xMode val="edge"/>
          <c:yMode val="edge"/>
          <c:x val="0.136274391040486"/>
          <c:y val="3.5714285714285698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8308398950131201E-2"/>
          <c:y val="0.20987744300557501"/>
          <c:w val="0.87794225721784802"/>
          <c:h val="0.48848571011956898"/>
        </c:manualLayout>
      </c:layout>
      <c:lineChart>
        <c:grouping val="standard"/>
        <c:varyColors val="0"/>
        <c:ser>
          <c:idx val="3"/>
          <c:order val="0"/>
          <c:tx>
            <c:strRef>
              <c:f>'lcd-1'!$K$19</c:f>
              <c:strCache>
                <c:ptCount val="1"/>
                <c:pt idx="0">
                  <c:v>Homicide, total</c:v>
                </c:pt>
              </c:strCache>
            </c:strRef>
          </c:tx>
          <c:marker>
            <c:symbol val="none"/>
          </c:marker>
          <c:cat>
            <c:strRef>
              <c:f>'lcd-1'!$L$18:$X$18</c:f>
              <c:strCache>
                <c:ptCount val="13"/>
                <c:pt idx="0">
                  <c:v>Under 10</c:v>
                </c:pt>
                <c:pt idx="1">
                  <c:v>10-14</c:v>
                </c:pt>
                <c:pt idx="2">
                  <c:v>15-19</c:v>
                </c:pt>
                <c:pt idx="3">
                  <c:v>20-24</c:v>
                </c:pt>
                <c:pt idx="4">
                  <c:v>25-29</c:v>
                </c:pt>
                <c:pt idx="5">
                  <c:v>30-34</c:v>
                </c:pt>
                <c:pt idx="6">
                  <c:v>35-39</c:v>
                </c:pt>
                <c:pt idx="7">
                  <c:v>40-44</c:v>
                </c:pt>
                <c:pt idx="8">
                  <c:v>45-49</c:v>
                </c:pt>
                <c:pt idx="9">
                  <c:v>50-54</c:v>
                </c:pt>
                <c:pt idx="10">
                  <c:v>55-59</c:v>
                </c:pt>
                <c:pt idx="11">
                  <c:v>60-64</c:v>
                </c:pt>
                <c:pt idx="12">
                  <c:v>65+</c:v>
                </c:pt>
              </c:strCache>
            </c:strRef>
          </c:cat>
          <c:val>
            <c:numRef>
              <c:f>'lcd-1'!$L$19:$X$19</c:f>
              <c:numCache>
                <c:formatCode>General</c:formatCode>
                <c:ptCount val="13"/>
                <c:pt idx="0">
                  <c:v>531</c:v>
                </c:pt>
                <c:pt idx="1">
                  <c:v>213</c:v>
                </c:pt>
                <c:pt idx="2">
                  <c:v>2224</c:v>
                </c:pt>
                <c:pt idx="3">
                  <c:v>3327</c:v>
                </c:pt>
                <c:pt idx="4">
                  <c:v>2717</c:v>
                </c:pt>
                <c:pt idx="5">
                  <c:v>2041</c:v>
                </c:pt>
                <c:pt idx="6">
                  <c:v>1619</c:v>
                </c:pt>
                <c:pt idx="7">
                  <c:v>1433</c:v>
                </c:pt>
                <c:pt idx="8">
                  <c:v>1234</c:v>
                </c:pt>
                <c:pt idx="9">
                  <c:v>906</c:v>
                </c:pt>
                <c:pt idx="10">
                  <c:v>599</c:v>
                </c:pt>
                <c:pt idx="11">
                  <c:v>381</c:v>
                </c:pt>
                <c:pt idx="12">
                  <c:v>755</c:v>
                </c:pt>
              </c:numCache>
            </c:numRef>
          </c:val>
          <c:smooth val="0"/>
        </c:ser>
        <c:ser>
          <c:idx val="4"/>
          <c:order val="1"/>
          <c:tx>
            <c:strRef>
              <c:f>'lcd-1'!$K$20</c:f>
              <c:strCache>
                <c:ptCount val="1"/>
                <c:pt idx="0">
                  <c:v>Homicide, firearm</c:v>
                </c:pt>
              </c:strCache>
            </c:strRef>
          </c:tx>
          <c:marker>
            <c:symbol val="none"/>
          </c:marker>
          <c:cat>
            <c:strRef>
              <c:f>'lcd-1'!$L$18:$X$18</c:f>
              <c:strCache>
                <c:ptCount val="13"/>
                <c:pt idx="0">
                  <c:v>Under 10</c:v>
                </c:pt>
                <c:pt idx="1">
                  <c:v>10-14</c:v>
                </c:pt>
                <c:pt idx="2">
                  <c:v>15-19</c:v>
                </c:pt>
                <c:pt idx="3">
                  <c:v>20-24</c:v>
                </c:pt>
                <c:pt idx="4">
                  <c:v>25-29</c:v>
                </c:pt>
                <c:pt idx="5">
                  <c:v>30-34</c:v>
                </c:pt>
                <c:pt idx="6">
                  <c:v>35-39</c:v>
                </c:pt>
                <c:pt idx="7">
                  <c:v>40-44</c:v>
                </c:pt>
                <c:pt idx="8">
                  <c:v>45-49</c:v>
                </c:pt>
                <c:pt idx="9">
                  <c:v>50-54</c:v>
                </c:pt>
                <c:pt idx="10">
                  <c:v>55-59</c:v>
                </c:pt>
                <c:pt idx="11">
                  <c:v>60-64</c:v>
                </c:pt>
                <c:pt idx="12">
                  <c:v>65+</c:v>
                </c:pt>
              </c:strCache>
            </c:strRef>
          </c:cat>
          <c:val>
            <c:numRef>
              <c:f>'lcd-1'!$L$20:$X$20</c:f>
              <c:numCache>
                <c:formatCode>General</c:formatCode>
                <c:ptCount val="13"/>
                <c:pt idx="0">
                  <c:v>95</c:v>
                </c:pt>
                <c:pt idx="1">
                  <c:v>154</c:v>
                </c:pt>
                <c:pt idx="2">
                  <c:v>1897</c:v>
                </c:pt>
                <c:pt idx="3">
                  <c:v>2772</c:v>
                </c:pt>
                <c:pt idx="4">
                  <c:v>2181</c:v>
                </c:pt>
                <c:pt idx="5">
                  <c:v>1570</c:v>
                </c:pt>
                <c:pt idx="6">
                  <c:v>1119</c:v>
                </c:pt>
                <c:pt idx="7">
                  <c:v>919</c:v>
                </c:pt>
                <c:pt idx="8">
                  <c:v>699</c:v>
                </c:pt>
                <c:pt idx="9">
                  <c:v>460</c:v>
                </c:pt>
                <c:pt idx="10">
                  <c:v>280</c:v>
                </c:pt>
                <c:pt idx="11">
                  <c:v>166</c:v>
                </c:pt>
                <c:pt idx="12">
                  <c:v>29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57574336"/>
        <c:axId val="257572376"/>
      </c:lineChart>
      <c:catAx>
        <c:axId val="257574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Graphik Regular"/>
              </a:defRPr>
            </a:pPr>
            <a:endParaRPr lang="es-MX"/>
          </a:p>
        </c:txPr>
        <c:crossAx val="257572376"/>
        <c:crosses val="autoZero"/>
        <c:auto val="1"/>
        <c:lblAlgn val="ctr"/>
        <c:lblOffset val="100"/>
        <c:noMultiLvlLbl val="0"/>
      </c:catAx>
      <c:valAx>
        <c:axId val="257572376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900">
                <a:latin typeface="Graphik Regular"/>
              </a:defRPr>
            </a:pPr>
            <a:endParaRPr lang="es-MX"/>
          </a:p>
        </c:txPr>
        <c:crossAx val="257574336"/>
        <c:crosses val="autoZero"/>
        <c:crossBetween val="midCat"/>
      </c:valAx>
    </c:plotArea>
    <c:legend>
      <c:legendPos val="b"/>
      <c:layout>
        <c:manualLayout>
          <c:xMode val="edge"/>
          <c:yMode val="edge"/>
          <c:x val="0.24064566929133899"/>
          <c:y val="0.83227724633594402"/>
          <c:w val="0.51870844269466299"/>
          <c:h val="0.16550356825231599"/>
        </c:manualLayout>
      </c:layout>
      <c:overlay val="0"/>
      <c:txPr>
        <a:bodyPr/>
        <a:lstStyle/>
        <a:p>
          <a:pPr>
            <a:defRPr sz="1000">
              <a:latin typeface="Helvetica" panose="020B0604020202020204" pitchFamily="34" charset="0"/>
              <a:cs typeface="Helvetica" panose="020B0604020202020204" pitchFamily="34" charset="0"/>
            </a:defRPr>
          </a:pPr>
          <a:endParaRPr lang="es-MX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[Mortality Rate by Cause of Death.xlsx]Sheet1'!$A$8</c:f>
              <c:strCache>
                <c:ptCount val="1"/>
                <c:pt idx="0">
                  <c:v>Infant Mortality (x10)</c:v>
                </c:pt>
              </c:strCache>
            </c:strRef>
          </c:tx>
          <c:spPr>
            <a:ln>
              <a:solidFill>
                <a:schemeClr val="tx1">
                  <a:lumMod val="65000"/>
                  <a:lumOff val="35000"/>
                </a:schemeClr>
              </a:solidFill>
              <a:prstDash val="sysDash"/>
              <a:headEnd type="none"/>
            </a:ln>
          </c:spPr>
          <c:marker>
            <c:symbol val="none"/>
          </c:marker>
          <c:cat>
            <c:numRef>
              <c:f>'[Mortality Rate by Cause of Death.xlsx]Sheet1'!$B$7:$J$7</c:f>
              <c:numCache>
                <c:formatCode>General</c:formatCode>
                <c:ptCount val="9"/>
                <c:pt idx="0">
                  <c:v>1950</c:v>
                </c:pt>
                <c:pt idx="1">
                  <c:v>1960</c:v>
                </c:pt>
                <c:pt idx="2">
                  <c:v>1970</c:v>
                </c:pt>
                <c:pt idx="3">
                  <c:v>1980</c:v>
                </c:pt>
                <c:pt idx="4">
                  <c:v>1990</c:v>
                </c:pt>
                <c:pt idx="5">
                  <c:v>2000</c:v>
                </c:pt>
                <c:pt idx="6">
                  <c:v>2005</c:v>
                </c:pt>
                <c:pt idx="7">
                  <c:v>2010</c:v>
                </c:pt>
                <c:pt idx="8">
                  <c:v>2013</c:v>
                </c:pt>
              </c:numCache>
            </c:numRef>
          </c:cat>
          <c:val>
            <c:numRef>
              <c:f>'[Mortality Rate by Cause of Death.xlsx]Sheet1'!$B$8:$J$8</c:f>
              <c:numCache>
                <c:formatCode>General</c:formatCode>
                <c:ptCount val="9"/>
                <c:pt idx="0">
                  <c:v>405</c:v>
                </c:pt>
                <c:pt idx="1">
                  <c:v>374</c:v>
                </c:pt>
                <c:pt idx="2">
                  <c:v>213</c:v>
                </c:pt>
                <c:pt idx="3">
                  <c:v>101</c:v>
                </c:pt>
                <c:pt idx="4">
                  <c:v>92.2</c:v>
                </c:pt>
                <c:pt idx="5">
                  <c:v>69.099999999999994</c:v>
                </c:pt>
                <c:pt idx="6">
                  <c:v>68.7</c:v>
                </c:pt>
                <c:pt idx="7">
                  <c:v>61.5</c:v>
                </c:pt>
                <c:pt idx="8">
                  <c:v>59.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[Mortality Rate by Cause of Death.xlsx]Sheet1'!$A$9</c:f>
              <c:strCache>
                <c:ptCount val="1"/>
                <c:pt idx="0">
                  <c:v>Heart Disease</c:v>
                </c:pt>
              </c:strCache>
            </c:strRef>
          </c:tx>
          <c:spPr>
            <a:ln>
              <a:solidFill>
                <a:schemeClr val="tx1">
                  <a:lumMod val="75000"/>
                  <a:lumOff val="25000"/>
                </a:schemeClr>
              </a:solidFill>
              <a:prstDash val="sysDot"/>
              <a:headEnd type="none"/>
              <a:tailEnd type="none"/>
            </a:ln>
          </c:spPr>
          <c:marker>
            <c:symbol val="none"/>
          </c:marker>
          <c:cat>
            <c:numRef>
              <c:f>'[Mortality Rate by Cause of Death.xlsx]Sheet1'!$B$7:$J$7</c:f>
              <c:numCache>
                <c:formatCode>General</c:formatCode>
                <c:ptCount val="9"/>
                <c:pt idx="0">
                  <c:v>1950</c:v>
                </c:pt>
                <c:pt idx="1">
                  <c:v>1960</c:v>
                </c:pt>
                <c:pt idx="2">
                  <c:v>1970</c:v>
                </c:pt>
                <c:pt idx="3">
                  <c:v>1980</c:v>
                </c:pt>
                <c:pt idx="4">
                  <c:v>1990</c:v>
                </c:pt>
                <c:pt idx="5">
                  <c:v>2000</c:v>
                </c:pt>
                <c:pt idx="6">
                  <c:v>2005</c:v>
                </c:pt>
                <c:pt idx="7">
                  <c:v>2010</c:v>
                </c:pt>
                <c:pt idx="8">
                  <c:v>2013</c:v>
                </c:pt>
              </c:numCache>
            </c:numRef>
          </c:cat>
          <c:val>
            <c:numRef>
              <c:f>'[Mortality Rate by Cause of Death.xlsx]Sheet1'!$B$9:$J$9</c:f>
              <c:numCache>
                <c:formatCode>General</c:formatCode>
                <c:ptCount val="9"/>
                <c:pt idx="0">
                  <c:v>355.5</c:v>
                </c:pt>
                <c:pt idx="1">
                  <c:v>369</c:v>
                </c:pt>
                <c:pt idx="2">
                  <c:v>362.5</c:v>
                </c:pt>
                <c:pt idx="3">
                  <c:v>336</c:v>
                </c:pt>
                <c:pt idx="4">
                  <c:v>289.5</c:v>
                </c:pt>
                <c:pt idx="5">
                  <c:v>252.6</c:v>
                </c:pt>
                <c:pt idx="6">
                  <c:v>220.7</c:v>
                </c:pt>
                <c:pt idx="7">
                  <c:v>193.6</c:v>
                </c:pt>
                <c:pt idx="8">
                  <c:v>193.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[Mortality Rate by Cause of Death.xlsx]Sheet1'!$A$10</c:f>
              <c:strCache>
                <c:ptCount val="1"/>
                <c:pt idx="0">
                  <c:v>Cerebrovascular</c:v>
                </c:pt>
              </c:strCache>
            </c:strRef>
          </c:tx>
          <c:spPr>
            <a:ln>
              <a:solidFill>
                <a:schemeClr val="tx1">
                  <a:lumMod val="65000"/>
                  <a:lumOff val="35000"/>
                </a:schemeClr>
              </a:solidFill>
              <a:prstDash val="lgDash"/>
              <a:headEnd type="none"/>
            </a:ln>
          </c:spPr>
          <c:marker>
            <c:symbol val="none"/>
          </c:marker>
          <c:cat>
            <c:numRef>
              <c:f>'[Mortality Rate by Cause of Death.xlsx]Sheet1'!$B$7:$J$7</c:f>
              <c:numCache>
                <c:formatCode>General</c:formatCode>
                <c:ptCount val="9"/>
                <c:pt idx="0">
                  <c:v>1950</c:v>
                </c:pt>
                <c:pt idx="1">
                  <c:v>1960</c:v>
                </c:pt>
                <c:pt idx="2">
                  <c:v>1970</c:v>
                </c:pt>
                <c:pt idx="3">
                  <c:v>1980</c:v>
                </c:pt>
                <c:pt idx="4">
                  <c:v>1990</c:v>
                </c:pt>
                <c:pt idx="5">
                  <c:v>2000</c:v>
                </c:pt>
                <c:pt idx="6">
                  <c:v>2005</c:v>
                </c:pt>
                <c:pt idx="7">
                  <c:v>2010</c:v>
                </c:pt>
                <c:pt idx="8">
                  <c:v>2013</c:v>
                </c:pt>
              </c:numCache>
            </c:numRef>
          </c:cat>
          <c:val>
            <c:numRef>
              <c:f>'[Mortality Rate by Cause of Death.xlsx]Sheet1'!$B$10:$J$10</c:f>
              <c:numCache>
                <c:formatCode>General</c:formatCode>
                <c:ptCount val="9"/>
                <c:pt idx="0">
                  <c:v>104</c:v>
                </c:pt>
                <c:pt idx="1">
                  <c:v>108</c:v>
                </c:pt>
                <c:pt idx="2">
                  <c:v>101.9</c:v>
                </c:pt>
                <c:pt idx="3">
                  <c:v>75.099999999999994</c:v>
                </c:pt>
                <c:pt idx="4">
                  <c:v>57.9</c:v>
                </c:pt>
                <c:pt idx="5">
                  <c:v>59.6</c:v>
                </c:pt>
                <c:pt idx="6">
                  <c:v>48.6</c:v>
                </c:pt>
                <c:pt idx="7">
                  <c:v>41.9</c:v>
                </c:pt>
                <c:pt idx="8">
                  <c:v>40.799999999999997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[Mortality Rate by Cause of Death.xlsx]Sheet1'!$A$11</c:f>
              <c:strCache>
                <c:ptCount val="1"/>
                <c:pt idx="0">
                  <c:v>Homicide (x30)</c:v>
                </c:pt>
              </c:strCache>
            </c:strRef>
          </c:tx>
          <c:spPr>
            <a:ln w="76200" cmpd="sng">
              <a:solidFill>
                <a:srgbClr val="F8A429"/>
              </a:solidFill>
            </a:ln>
          </c:spPr>
          <c:marker>
            <c:symbol val="none"/>
          </c:marker>
          <c:cat>
            <c:numRef>
              <c:f>'[Mortality Rate by Cause of Death.xlsx]Sheet1'!$B$7:$J$7</c:f>
              <c:numCache>
                <c:formatCode>General</c:formatCode>
                <c:ptCount val="9"/>
                <c:pt idx="0">
                  <c:v>1950</c:v>
                </c:pt>
                <c:pt idx="1">
                  <c:v>1960</c:v>
                </c:pt>
                <c:pt idx="2">
                  <c:v>1970</c:v>
                </c:pt>
                <c:pt idx="3">
                  <c:v>1980</c:v>
                </c:pt>
                <c:pt idx="4">
                  <c:v>1990</c:v>
                </c:pt>
                <c:pt idx="5">
                  <c:v>2000</c:v>
                </c:pt>
                <c:pt idx="6">
                  <c:v>2005</c:v>
                </c:pt>
                <c:pt idx="7">
                  <c:v>2010</c:v>
                </c:pt>
                <c:pt idx="8">
                  <c:v>2013</c:v>
                </c:pt>
              </c:numCache>
            </c:numRef>
          </c:cat>
          <c:val>
            <c:numRef>
              <c:f>'[Mortality Rate by Cause of Death.xlsx]Sheet1'!$B$11:$J$11</c:f>
              <c:numCache>
                <c:formatCode>General</c:formatCode>
                <c:ptCount val="9"/>
                <c:pt idx="0">
                  <c:v>153</c:v>
                </c:pt>
                <c:pt idx="1">
                  <c:v>141</c:v>
                </c:pt>
                <c:pt idx="2">
                  <c:v>231</c:v>
                </c:pt>
                <c:pt idx="3">
                  <c:v>321</c:v>
                </c:pt>
                <c:pt idx="4">
                  <c:v>300</c:v>
                </c:pt>
                <c:pt idx="5">
                  <c:v>177</c:v>
                </c:pt>
                <c:pt idx="6">
                  <c:v>183</c:v>
                </c:pt>
                <c:pt idx="7">
                  <c:v>159</c:v>
                </c:pt>
                <c:pt idx="8">
                  <c:v>15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57572768"/>
        <c:axId val="257571592"/>
      </c:lineChart>
      <c:catAx>
        <c:axId val="2575727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pPr>
            <a:endParaRPr lang="es-MX"/>
          </a:p>
        </c:txPr>
        <c:crossAx val="257571592"/>
        <c:crosses val="autoZero"/>
        <c:auto val="1"/>
        <c:lblAlgn val="ctr"/>
        <c:lblOffset val="100"/>
        <c:noMultiLvlLbl val="0"/>
      </c:catAx>
      <c:valAx>
        <c:axId val="257571592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>
                    <a:latin typeface="Helvetica" panose="020B0604020202020204" pitchFamily="34" charset="0"/>
                    <a:cs typeface="Helvetica" panose="020B0604020202020204" pitchFamily="34" charset="0"/>
                  </a:defRPr>
                </a:pPr>
                <a:r>
                  <a:rPr lang="en-US">
                    <a:latin typeface="Helvetica" panose="020B0604020202020204" pitchFamily="34" charset="0"/>
                    <a:cs typeface="Helvetica" panose="020B0604020202020204" pitchFamily="34" charset="0"/>
                  </a:rPr>
                  <a:t>Deaths Per 100,000 People</a:t>
                </a:r>
              </a:p>
            </c:rich>
          </c:tx>
          <c:layout>
            <c:manualLayout>
              <c:xMode val="edge"/>
              <c:yMode val="edge"/>
              <c:x val="4.3774320742605496E-3"/>
              <c:y val="0.19470496984727859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pPr>
            <a:endParaRPr lang="es-MX"/>
          </a:p>
        </c:txPr>
        <c:crossAx val="25757276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5.0000040212630603E-2"/>
          <c:y val="0.91055602094010613"/>
          <c:w val="0.89999991957473902"/>
          <c:h val="6.5747354831168794E-2"/>
        </c:manualLayout>
      </c:layout>
      <c:overlay val="0"/>
      <c:txPr>
        <a:bodyPr/>
        <a:lstStyle/>
        <a:p>
          <a:pPr>
            <a:defRPr>
              <a:latin typeface="Helvetica" panose="020B0604020202020204" pitchFamily="34" charset="0"/>
              <a:cs typeface="Helvetica" panose="020B0604020202020204" pitchFamily="34" charset="0"/>
            </a:defRPr>
          </a:pPr>
          <a:endParaRPr lang="es-MX"/>
        </a:p>
      </c:txPr>
    </c:legend>
    <c:plotVisOnly val="1"/>
    <c:dispBlanksAs val="gap"/>
    <c:showDLblsOverMax val="0"/>
  </c:chart>
  <c:txPr>
    <a:bodyPr/>
    <a:lstStyle/>
    <a:p>
      <a:pPr>
        <a:defRPr>
          <a:latin typeface="Graphik Extralight" pitchFamily="34" charset="0"/>
        </a:defRPr>
      </a:pPr>
      <a:endParaRPr lang="es-MX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v>Math scores</c:v>
          </c:tx>
          <c:spPr>
            <a:solidFill>
              <a:srgbClr val="767676"/>
            </a:solidFill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  <c:spPr>
              <a:solidFill>
                <a:schemeClr val="tx2"/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>
                    <a:latin typeface="Helvetica" panose="020B0604020202020204" pitchFamily="34" charset="0"/>
                    <a:cs typeface="Helvetica" panose="020B0604020202020204" pitchFamily="34" charset="0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year 1 '!$F$46:$G$46</c:f>
              <c:strCache>
                <c:ptCount val="2"/>
                <c:pt idx="0">
                  <c:v>Black-white gap in math scores, US 13 year olds</c:v>
                </c:pt>
                <c:pt idx="1">
                  <c:v>Effects of Match on math test scores</c:v>
                </c:pt>
              </c:strCache>
            </c:strRef>
          </c:cat>
          <c:val>
            <c:numRef>
              <c:f>'year 1 '!$F$47:$G$47</c:f>
              <c:numCache>
                <c:formatCode>General</c:formatCode>
                <c:ptCount val="2"/>
                <c:pt idx="0">
                  <c:v>0.8</c:v>
                </c:pt>
                <c:pt idx="1">
                  <c:v>0.2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7575120"/>
        <c:axId val="257571984"/>
      </c:barChart>
      <c:catAx>
        <c:axId val="257575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>
                <a:latin typeface="Helvetica" panose="020B0604020202020204" pitchFamily="34" charset="0"/>
                <a:cs typeface="Helvetica" panose="020B0604020202020204" pitchFamily="34" charset="0"/>
              </a:defRPr>
            </a:pPr>
            <a:endParaRPr lang="es-MX"/>
          </a:p>
        </c:txPr>
        <c:crossAx val="257571984"/>
        <c:crosses val="autoZero"/>
        <c:auto val="1"/>
        <c:lblAlgn val="ctr"/>
        <c:lblOffset val="100"/>
        <c:noMultiLvlLbl val="0"/>
      </c:catAx>
      <c:valAx>
        <c:axId val="257571984"/>
        <c:scaling>
          <c:orientation val="minMax"/>
          <c:max val="1"/>
        </c:scaling>
        <c:delete val="0"/>
        <c:axPos val="l"/>
        <c:title>
          <c:tx>
            <c:rich>
              <a:bodyPr/>
              <a:lstStyle/>
              <a:p>
                <a:pPr>
                  <a:defRPr sz="1600">
                    <a:latin typeface="Helvetica" panose="020B0604020202020204" pitchFamily="34" charset="0"/>
                    <a:cs typeface="Helvetica" panose="020B0604020202020204" pitchFamily="34" charset="0"/>
                  </a:defRPr>
                </a:pPr>
                <a:r>
                  <a:rPr lang="en-US" sz="1600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>Standardized Math</a:t>
                </a:r>
                <a:r>
                  <a:rPr lang="en-US" sz="1600" baseline="0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> T</a:t>
                </a:r>
                <a:r>
                  <a:rPr lang="en-US" sz="1600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>est Score</a:t>
                </a:r>
              </a:p>
            </c:rich>
          </c:tx>
          <c:layout>
            <c:manualLayout>
              <c:xMode val="edge"/>
              <c:yMode val="edge"/>
              <c:x val="0"/>
              <c:y val="0.12641911433838471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100">
                <a:latin typeface="Helvetica" panose="020B0604020202020204" pitchFamily="34" charset="0"/>
                <a:cs typeface="Helvetica" panose="020B0604020202020204" pitchFamily="34" charset="0"/>
              </a:defRPr>
            </a:pPr>
            <a:endParaRPr lang="es-MX"/>
          </a:p>
        </c:txPr>
        <c:crossAx val="257575120"/>
        <c:crosses val="autoZero"/>
        <c:crossBetween val="between"/>
        <c:majorUnit val="0.2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>
          <a:latin typeface="+mn-lt"/>
        </a:defRPr>
      </a:pPr>
      <a:endParaRPr lang="es-MX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7544</cdr:x>
      <cdr:y>0.34628</cdr:y>
    </cdr:from>
    <cdr:to>
      <cdr:x>0.88925</cdr:x>
      <cdr:y>0.70992</cdr:y>
    </cdr:to>
    <cdr:sp macro="" textlink="">
      <cdr:nvSpPr>
        <cdr:cNvPr id="2" name="Text Box 1"/>
        <cdr:cNvSpPr txBox="1"/>
      </cdr:nvSpPr>
      <cdr:spPr>
        <a:xfrm xmlns:a="http://schemas.openxmlformats.org/drawingml/2006/main">
          <a:off x="5494708" y="1526798"/>
          <a:ext cx="1739346" cy="16033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43573</cdr:x>
      <cdr:y>0</cdr:y>
    </cdr:from>
    <cdr:to>
      <cdr:x>0.64954</cdr:x>
      <cdr:y>0.14302</cdr:y>
    </cdr:to>
    <cdr:sp macro="" textlink="">
      <cdr:nvSpPr>
        <cdr:cNvPr id="3" name="Text Box 2"/>
        <cdr:cNvSpPr txBox="1"/>
      </cdr:nvSpPr>
      <cdr:spPr>
        <a:xfrm xmlns:a="http://schemas.openxmlformats.org/drawingml/2006/main">
          <a:off x="3544671" y="-1849845"/>
          <a:ext cx="1739346" cy="63060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/>
          <a:r>
            <a:rPr lang="en-US" sz="1600" b="1" dirty="0">
              <a:solidFill>
                <a:srgbClr val="800000"/>
              </a:solidFill>
              <a:latin typeface="Helvetica" panose="020B0604020202020204" pitchFamily="34" charset="0"/>
              <a:cs typeface="Helvetica" panose="020B0604020202020204" pitchFamily="34" charset="0"/>
            </a:rPr>
            <a:t>Closed 30% of the</a:t>
          </a:r>
        </a:p>
        <a:p xmlns:a="http://schemas.openxmlformats.org/drawingml/2006/main">
          <a:pPr algn="ctr"/>
          <a:r>
            <a:rPr lang="en-US" sz="1600" b="1" dirty="0">
              <a:solidFill>
                <a:srgbClr val="800000"/>
              </a:solidFill>
              <a:latin typeface="Helvetica" panose="020B0604020202020204" pitchFamily="34" charset="0"/>
              <a:cs typeface="Helvetica" panose="020B0604020202020204" pitchFamily="34" charset="0"/>
            </a:rPr>
            <a:t>b-w</a:t>
          </a:r>
          <a:r>
            <a:rPr lang="en-US" sz="1600" b="1" baseline="0" dirty="0">
              <a:solidFill>
                <a:srgbClr val="800000"/>
              </a:solidFill>
              <a:latin typeface="Helvetica" panose="020B0604020202020204" pitchFamily="34" charset="0"/>
              <a:cs typeface="Helvetica" panose="020B0604020202020204" pitchFamily="34" charset="0"/>
            </a:rPr>
            <a:t> test score gap</a:t>
          </a:r>
          <a:endParaRPr lang="en-US" sz="1600" b="1" dirty="0">
            <a:solidFill>
              <a:srgbClr val="800000"/>
            </a:solidFill>
            <a:latin typeface="Helvetica" panose="020B0604020202020204" pitchFamily="34" charset="0"/>
            <a:cs typeface="Helvetica" panose="020B0604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544CB8F-DBB8-9F4C-B5A0-CF5648E40ABE}" type="datetimeFigureOut">
              <a:rPr lang="en-US" smtClean="0"/>
              <a:t>6/28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EEA510A1-5469-A542-ACAE-B49058592EF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776098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F1ADE23-1074-DD48-802F-7F87711B3EF2}" type="datetimeFigureOut">
              <a:rPr lang="en-US" smtClean="0"/>
              <a:t>6/28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696913"/>
            <a:ext cx="55753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E4EFE820-594D-0F43-A92E-9B42BCC5291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11593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66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5F41A8-62D1-904D-9E53-8B79F93A12B1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8757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24689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1836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2984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7372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1407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2258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29176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90525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>
                <a:solidFill>
                  <a:prstClr val="black"/>
                </a:solidFill>
              </a:rPr>
              <a:pPr/>
              <a:t>1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61776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5F41A8-62D1-904D-9E53-8B79F93A12B1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21618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 dirty="0" smtClean="0">
              <a:ea typeface="ＭＳ Ｐゴシック" pitchFamily="34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826433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046985-182D-4E8F-8B85-E9849C574BE6}" type="slidenum">
              <a:rPr lang="en-US" smtClean="0">
                <a:solidFill>
                  <a:prstClr val="black"/>
                </a:solidFill>
              </a:rPr>
              <a:pPr/>
              <a:t>2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774115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5F41A8-62D1-904D-9E53-8B79F93A12B1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44706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5F41A8-62D1-904D-9E53-8B79F93A12B1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296768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6D3565-A28F-4796-AFA3-8D25704E32AF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227793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5F41A8-62D1-904D-9E53-8B79F93A12B1}" type="slidenum">
              <a:rPr lang="en-US" smtClean="0">
                <a:solidFill>
                  <a:prstClr val="black"/>
                </a:solidFill>
              </a:rPr>
              <a:pPr/>
              <a:t>2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263757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5F41A8-62D1-904D-9E53-8B79F93A12B1}" type="slidenum">
              <a:rPr lang="en-US" smtClean="0">
                <a:solidFill>
                  <a:prstClr val="black"/>
                </a:solidFill>
              </a:rPr>
              <a:pPr/>
              <a:t>2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046032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392760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7174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5F41A8-62D1-904D-9E53-8B79F93A12B1}" type="slidenum">
              <a:rPr lang="en-US" smtClean="0">
                <a:solidFill>
                  <a:prstClr val="black"/>
                </a:solidFill>
              </a:rPr>
              <a:pPr/>
              <a:t>2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98817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5F41A8-62D1-904D-9E53-8B79F93A12B1}" type="slidenum">
              <a:rPr lang="en-US" smtClean="0">
                <a:solidFill>
                  <a:prstClr val="black"/>
                </a:solidFill>
              </a:rPr>
              <a:pPr/>
              <a:t>2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9881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5F41A8-62D1-904D-9E53-8B79F93A12B1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141363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11899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spcBef>
                <a:spcPct val="0"/>
              </a:spcBef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29395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>
                <a:solidFill>
                  <a:prstClr val="black"/>
                </a:solidFill>
              </a:rPr>
              <a:pPr/>
              <a:t>3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68539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>
                <a:solidFill>
                  <a:prstClr val="black"/>
                </a:solidFill>
              </a:rPr>
              <a:pPr/>
              <a:t>3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684990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>
                <a:solidFill>
                  <a:prstClr val="black"/>
                </a:solidFill>
              </a:rPr>
              <a:pPr/>
              <a:t>3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483027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427570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>
                <a:solidFill>
                  <a:prstClr val="black"/>
                </a:solidFill>
              </a:rPr>
              <a:pPr/>
              <a:t>3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571897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>
                <a:solidFill>
                  <a:prstClr val="black"/>
                </a:solidFill>
              </a:rPr>
              <a:pPr/>
              <a:t>3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864319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>
                <a:solidFill>
                  <a:prstClr val="black"/>
                </a:solidFill>
              </a:rPr>
              <a:pPr/>
              <a:t>3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21105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en-US" dirty="0" smtClean="0">
              <a:ea typeface="ＭＳ Ｐゴシック" pitchFamily="34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00768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85941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>
                <a:solidFill>
                  <a:prstClr val="black"/>
                </a:solidFill>
              </a:rPr>
              <a:pPr/>
              <a:t>4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07684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>
                <a:solidFill>
                  <a:prstClr val="black"/>
                </a:solidFill>
              </a:rPr>
              <a:pPr/>
              <a:t>4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6790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n-US" smtClean="0">
                <a:solidFill>
                  <a:prstClr val="black"/>
                </a:solidFill>
              </a:rPr>
              <a:pPr/>
              <a:t>4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74695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CB422-779A-4F3E-8BB7-1E99A88CDD78}" type="slidenum">
              <a:rPr lang="en-US" smtClean="0">
                <a:solidFill>
                  <a:prstClr val="black"/>
                </a:solidFill>
              </a:rPr>
              <a:pPr/>
              <a:t>4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01162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4555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56531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9309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7686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696913"/>
            <a:ext cx="5575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65887">
              <a:defRPr/>
            </a:pPr>
            <a:endParaRPr lang="en-US" altLang="en-US" dirty="0" smtClean="0">
              <a:ea typeface="ＭＳ Ｐゴシック" pitchFamily="34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FE820-594D-0F43-A92E-9B42BCC5291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5996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2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4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4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4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4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4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5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5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5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5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>
          <a:xfrm>
            <a:off x="385670" y="317340"/>
            <a:ext cx="2959678" cy="91908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80000"/>
              </a:lnSpc>
            </a:pPr>
            <a:r>
              <a:rPr lang="en-US" sz="2600" dirty="0" smtClean="0">
                <a:solidFill>
                  <a:srgbClr val="7C0622"/>
                </a:solidFill>
                <a:latin typeface="Graphik Medium"/>
                <a:cs typeface="Graphik Medium"/>
              </a:rPr>
              <a:t>UChicago</a:t>
            </a:r>
            <a:r>
              <a:rPr lang="en-US" sz="2600" dirty="0" smtClean="0">
                <a:solidFill>
                  <a:srgbClr val="800000"/>
                </a:solidFill>
                <a:latin typeface="Graphik Medium"/>
                <a:cs typeface="Graphik Medium"/>
              </a:rPr>
              <a:t/>
            </a:r>
            <a:br>
              <a:rPr lang="en-US" sz="2600" dirty="0" smtClean="0">
                <a:solidFill>
                  <a:srgbClr val="800000"/>
                </a:solidFill>
                <a:latin typeface="Graphik Medium"/>
                <a:cs typeface="Graphik Medium"/>
              </a:rPr>
            </a:br>
            <a:r>
              <a:rPr lang="en-US" sz="2600" dirty="0" smtClean="0">
                <a:solidFill>
                  <a:schemeClr val="bg1"/>
                </a:solidFill>
                <a:latin typeface="Graphik Medium"/>
                <a:cs typeface="Graphik Medium"/>
              </a:rPr>
              <a:t>Urban Labs</a:t>
            </a:r>
            <a:endParaRPr lang="en-US" sz="2600" dirty="0">
              <a:solidFill>
                <a:schemeClr val="bg1"/>
              </a:solidFill>
              <a:latin typeface="Graphik Medium"/>
              <a:cs typeface="Graphik Medium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5670" y="2013480"/>
            <a:ext cx="7772400" cy="2516746"/>
          </a:xfrm>
          <a:prstGeom prst="rect">
            <a:avLst/>
          </a:prstGeom>
        </p:spPr>
        <p:txBody>
          <a:bodyPr/>
          <a:lstStyle>
            <a:lvl1pPr algn="l">
              <a:defRPr sz="4200">
                <a:solidFill>
                  <a:schemeClr val="bg1"/>
                </a:solidFill>
                <a:latin typeface="Graphik Extralight"/>
                <a:cs typeface="Graphik Extraligh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85671" y="5211424"/>
            <a:ext cx="1317990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fld id="{E674F770-3668-854B-85A5-5FA574A323A0}" type="datetime4">
              <a:rPr lang="en-US" sz="1400" smtClean="0">
                <a:solidFill>
                  <a:srgbClr val="FFFFFF"/>
                </a:solidFill>
                <a:latin typeface="Graphik Light"/>
                <a:cs typeface="Graphik Light"/>
              </a:rPr>
              <a:t>June 28, 2016</a:t>
            </a:fld>
            <a:endParaRPr lang="en-US" sz="1400" dirty="0">
              <a:solidFill>
                <a:srgbClr val="FFFFFF"/>
              </a:solidFill>
              <a:latin typeface="Graphik Light"/>
              <a:cs typeface="Graphik Light"/>
            </a:endParaRPr>
          </a:p>
        </p:txBody>
      </p:sp>
    </p:spTree>
    <p:extLst>
      <p:ext uri="{BB962C8B-B14F-4D97-AF65-F5344CB8AC3E}">
        <p14:creationId xmlns:p14="http://schemas.microsoft.com/office/powerpoint/2010/main" val="1411063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Grap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3987814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40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267709" y="342729"/>
            <a:ext cx="4478019" cy="678433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57200" indent="0">
              <a:buFontTx/>
              <a:buNone/>
              <a:defRPr sz="1800">
                <a:latin typeface="Graphik Regular"/>
                <a:cs typeface="Graphik Regular"/>
              </a:defRPr>
            </a:lvl2pPr>
            <a:lvl3pPr marL="914400" indent="0">
              <a:buNone/>
              <a:defRPr sz="1800">
                <a:latin typeface="Graphik Regular"/>
                <a:cs typeface="Graphik Regular"/>
              </a:defRPr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43565" y="1151123"/>
            <a:ext cx="4734937" cy="2135147"/>
          </a:xfrm>
          <a:prstGeom prst="rect">
            <a:avLst/>
          </a:prstGeom>
        </p:spPr>
        <p:txBody>
          <a:bodyPr vert="horz"/>
          <a:lstStyle>
            <a:lvl1pPr marL="228600" indent="-228600">
              <a:spcBef>
                <a:spcPts val="0"/>
              </a:spcBef>
              <a:buFont typeface="Arial"/>
              <a:buChar char="•"/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742950" indent="-285750">
              <a:buFont typeface="Arial"/>
              <a:buChar char="•"/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martArt Placeholder 4"/>
          <p:cNvSpPr>
            <a:spLocks noGrp="1"/>
          </p:cNvSpPr>
          <p:nvPr>
            <p:ph type="dgm" sz="quarter" idx="14" hasCustomPrompt="1"/>
          </p:nvPr>
        </p:nvSpPr>
        <p:spPr>
          <a:xfrm>
            <a:off x="357188" y="1151129"/>
            <a:ext cx="3487448" cy="3900013"/>
          </a:xfrm>
          <a:prstGeom prst="rect">
            <a:avLst/>
          </a:prstGeom>
        </p:spPr>
        <p:txBody>
          <a:bodyPr vert="horz"/>
          <a:lstStyle/>
          <a:p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332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76541-5852-4BAC-9D99-B6805199688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FA7A8-09C0-4F53-AE1F-5AFABD9F17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479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9263"/>
            <a:ext cx="4040188" cy="53313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279263"/>
            <a:ext cx="4041775" cy="53313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76541-5852-4BAC-9D99-B6805199688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FA7A8-09C0-4F53-AE1F-5AFABD9F17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1747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76541-5852-4BAC-9D99-B6805199688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FA7A8-09C0-4F53-AE1F-5AFABD9F17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4499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76541-5852-4BAC-9D99-B6805199688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FA7A8-09C0-4F53-AE1F-5AFABD9F17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43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27542"/>
            <a:ext cx="3008313" cy="96837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27545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195920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76541-5852-4BAC-9D99-B6805199688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FA7A8-09C0-4F53-AE1F-5AFABD9F17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6448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76541-5852-4BAC-9D99-B6805199688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FA7A8-09C0-4F53-AE1F-5AFABD9F17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514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76541-5852-4BAC-9D99-B6805199688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FA7A8-09C0-4F53-AE1F-5AFABD9F17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668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28871"/>
            <a:ext cx="2057400" cy="4876271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28871"/>
            <a:ext cx="6019800" cy="487627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76541-5852-4BAC-9D99-B6805199688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FA7A8-09C0-4F53-AE1F-5AFABD9F17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419600" y="5052699"/>
            <a:ext cx="4572000" cy="535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397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5409" y="1257300"/>
            <a:ext cx="8271775" cy="3848100"/>
          </a:xfrm>
        </p:spPr>
        <p:txBody>
          <a:bodyPr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368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50" y="317385"/>
            <a:ext cx="4373533" cy="5062697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 userDrawn="1"/>
        </p:nvSpPr>
        <p:spPr>
          <a:xfrm>
            <a:off x="385670" y="317340"/>
            <a:ext cx="2959678" cy="91908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80000"/>
              </a:lnSpc>
            </a:pPr>
            <a:r>
              <a:rPr lang="en-US" sz="2340" dirty="0" smtClean="0">
                <a:solidFill>
                  <a:srgbClr val="7C0622"/>
                </a:solidFill>
                <a:latin typeface="Graphik Medium"/>
                <a:cs typeface="Graphik Medium"/>
              </a:rPr>
              <a:t>UChicago</a:t>
            </a:r>
            <a:r>
              <a:rPr lang="en-US" sz="2340" dirty="0" smtClean="0">
                <a:solidFill>
                  <a:srgbClr val="800000"/>
                </a:solidFill>
                <a:latin typeface="Graphik Medium"/>
                <a:cs typeface="Graphik Medium"/>
              </a:rPr>
              <a:t/>
            </a:r>
            <a:br>
              <a:rPr lang="en-US" sz="2340" dirty="0" smtClean="0">
                <a:solidFill>
                  <a:srgbClr val="800000"/>
                </a:solidFill>
                <a:latin typeface="Graphik Medium"/>
                <a:cs typeface="Graphik Medium"/>
              </a:rPr>
            </a:br>
            <a:r>
              <a:rPr lang="en-US" sz="2340" dirty="0" smtClean="0">
                <a:solidFill>
                  <a:prstClr val="white"/>
                </a:solidFill>
                <a:latin typeface="Graphik Medium"/>
                <a:cs typeface="Graphik Medium"/>
              </a:rPr>
              <a:t>Urban Labs</a:t>
            </a:r>
            <a:endParaRPr lang="en-US" sz="2340" dirty="0">
              <a:solidFill>
                <a:prstClr val="white"/>
              </a:solidFill>
              <a:latin typeface="Graphik Medium"/>
              <a:cs typeface="Graphik Medium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5670" y="2013480"/>
            <a:ext cx="7772400" cy="2516746"/>
          </a:xfrm>
          <a:prstGeom prst="rect">
            <a:avLst/>
          </a:prstGeom>
        </p:spPr>
        <p:txBody>
          <a:bodyPr/>
          <a:lstStyle>
            <a:lvl1pPr algn="l">
              <a:defRPr sz="3780">
                <a:solidFill>
                  <a:schemeClr val="bg1"/>
                </a:solidFill>
                <a:latin typeface="Graphik Extralight"/>
                <a:cs typeface="Graphik Extraligh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1074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_Slide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400" baseline="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t>6/28/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172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Divider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78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30918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1">
    <p:bg>
      <p:bgPr>
        <a:solidFill>
          <a:srgbClr val="4140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78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2463397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600">
                <a:solidFill>
                  <a:schemeClr val="tx1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72655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Slid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072" y="235135"/>
            <a:ext cx="8229600" cy="524997"/>
          </a:xfrm>
          <a:prstGeom prst="rect">
            <a:avLst/>
          </a:prstGeom>
        </p:spPr>
        <p:txBody>
          <a:bodyPr/>
          <a:lstStyle>
            <a:lvl1pPr algn="l">
              <a:defRPr sz="2520"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931" y="1187615"/>
            <a:ext cx="8229600" cy="3917557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800">
                <a:latin typeface="Graphik Regular"/>
                <a:cs typeface="Graphik Regular"/>
              </a:defRPr>
            </a:lvl2pPr>
            <a:lvl3pPr>
              <a:defRPr sz="1620">
                <a:latin typeface="Graphik Regular"/>
                <a:cs typeface="Graphik Regular"/>
              </a:defRPr>
            </a:lvl3pPr>
            <a:lvl4pPr>
              <a:defRPr>
                <a:latin typeface="Graphik Regular"/>
                <a:cs typeface="Graphik Regular"/>
              </a:defRPr>
            </a:lvl4pPr>
            <a:lvl5pPr>
              <a:defRPr>
                <a:latin typeface="Graphik Regular"/>
                <a:cs typeface="Graphik Regular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9284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Slid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620">
                <a:latin typeface="Graphik Regular"/>
                <a:cs typeface="Graphik Regular"/>
              </a:defRPr>
            </a:lvl2pPr>
            <a:lvl3pPr>
              <a:defRPr sz="1440">
                <a:latin typeface="Graphik Regular"/>
                <a:cs typeface="Graphik Regular"/>
              </a:defRPr>
            </a:lvl3pPr>
            <a:lvl4pPr>
              <a:defRPr sz="1620">
                <a:latin typeface="Graphik Regular"/>
                <a:cs typeface="Graphik Regular"/>
              </a:defRPr>
            </a:lvl4pPr>
            <a:lvl5pPr>
              <a:defRPr sz="1620">
                <a:latin typeface="Graphik Regular"/>
                <a:cs typeface="Graphik Regular"/>
              </a:defRPr>
            </a:lvl5pPr>
            <a:lvl6pPr>
              <a:defRPr sz="1620"/>
            </a:lvl6pPr>
            <a:lvl7pPr>
              <a:defRPr sz="1620"/>
            </a:lvl7pPr>
            <a:lvl8pPr>
              <a:defRPr sz="1620"/>
            </a:lvl8pPr>
            <a:lvl9pPr>
              <a:defRPr sz="162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620">
                <a:latin typeface="Graphik Regular"/>
                <a:cs typeface="Graphik Regular"/>
              </a:defRPr>
            </a:lvl2pPr>
            <a:lvl3pPr>
              <a:defRPr sz="1440">
                <a:latin typeface="Graphik Regular"/>
                <a:cs typeface="Graphik Regular"/>
              </a:defRPr>
            </a:lvl3pPr>
            <a:lvl4pPr>
              <a:defRPr sz="1620"/>
            </a:lvl4pPr>
            <a:lvl5pPr>
              <a:defRPr sz="1620"/>
            </a:lvl5pPr>
            <a:lvl6pPr>
              <a:defRPr sz="1620"/>
            </a:lvl6pPr>
            <a:lvl7pPr>
              <a:defRPr sz="1620"/>
            </a:lvl7pPr>
            <a:lvl8pPr>
              <a:defRPr sz="1620"/>
            </a:lvl8pPr>
            <a:lvl9pPr>
              <a:defRPr sz="162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368072" y="235079"/>
            <a:ext cx="8229600" cy="9525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Graphik Bold"/>
                <a:ea typeface="+mj-ea"/>
                <a:cs typeface="Graphik Bold"/>
              </a:defRPr>
            </a:lvl1pPr>
          </a:lstStyle>
          <a:p>
            <a:r>
              <a:rPr lang="en-US" sz="2520" dirty="0" smtClean="0">
                <a:solidFill>
                  <a:prstClr val="black"/>
                </a:solidFill>
              </a:rPr>
              <a:t>Click to edit Master title style</a:t>
            </a:r>
            <a:endParaRPr lang="en-US" sz="2520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302996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r>
              <a:rPr lang="en-US" sz="234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42900" y="2811995"/>
            <a:ext cx="8229600" cy="107817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6480">
                <a:solidFill>
                  <a:schemeClr val="bg1"/>
                </a:solidFill>
                <a:latin typeface="Graphik Semibold"/>
                <a:cs typeface="Graphik Semibold"/>
              </a:defRPr>
            </a:lvl1pPr>
          </a:lstStyle>
          <a:p>
            <a:pPr lvl="0"/>
            <a:r>
              <a:rPr lang="en-US" dirty="0" smtClean="0"/>
              <a:t>Click to edi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" y="465429"/>
            <a:ext cx="1707120" cy="1976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75065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No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57188" y="1261810"/>
            <a:ext cx="8329612" cy="464919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57188" y="1968316"/>
            <a:ext cx="8337550" cy="23296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6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45271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17" y="1"/>
            <a:ext cx="3859161" cy="5734846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  <p:sp>
        <p:nvSpPr>
          <p:cNvPr id="18" name="Title 1"/>
          <p:cNvSpPr txBox="1">
            <a:spLocks/>
          </p:cNvSpPr>
          <p:nvPr userDrawn="1"/>
        </p:nvSpPr>
        <p:spPr>
          <a:xfrm>
            <a:off x="4043548" y="371335"/>
            <a:ext cx="4643252" cy="492012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800000"/>
                </a:solidFill>
                <a:latin typeface="Graphik Bold"/>
                <a:ea typeface="+mj-ea"/>
                <a:cs typeface="Graphik Bold"/>
              </a:defRPr>
            </a:lvl1pPr>
          </a:lstStyle>
          <a:p>
            <a:r>
              <a:rPr lang="en-US" sz="2160" smtClean="0"/>
              <a:t>Study Insert:</a:t>
            </a:r>
            <a:endParaRPr lang="en-US" sz="2160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043548" y="1261810"/>
            <a:ext cx="4643252" cy="464919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43548" y="1968345"/>
            <a:ext cx="4651190" cy="345299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6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252120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Grap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3987814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267709" y="342729"/>
            <a:ext cx="4478019" cy="678433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43565" y="1151123"/>
            <a:ext cx="4734937" cy="2135147"/>
          </a:xfrm>
          <a:prstGeom prst="rect">
            <a:avLst/>
          </a:prstGeom>
        </p:spPr>
        <p:txBody>
          <a:bodyPr vert="horz"/>
          <a:lstStyle>
            <a:lvl1pPr marL="205740" indent="-205740">
              <a:spcBef>
                <a:spcPts val="0"/>
              </a:spcBef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martArt Placeholder 4"/>
          <p:cNvSpPr>
            <a:spLocks noGrp="1"/>
          </p:cNvSpPr>
          <p:nvPr>
            <p:ph type="dgm" sz="quarter" idx="14" hasCustomPrompt="1"/>
          </p:nvPr>
        </p:nvSpPr>
        <p:spPr>
          <a:xfrm>
            <a:off x="357188" y="1151129"/>
            <a:ext cx="3487448" cy="3900013"/>
          </a:xfrm>
          <a:prstGeom prst="rect">
            <a:avLst/>
          </a:prstGeom>
        </p:spPr>
        <p:txBody>
          <a:bodyPr vert="horz"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91919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_Slide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 baseline="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467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359174" y="5264404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00" smtClean="0">
                <a:solidFill>
                  <a:srgbClr val="FFFFFF"/>
                </a:solidFill>
                <a:latin typeface="Graphik Medium"/>
                <a:cs typeface="Graphik Medium"/>
              </a:rPr>
              <a:t>‹Nº›</a:t>
            </a:fld>
            <a:endParaRPr lang="en-US" sz="10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2836385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162087063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13150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283997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r>
              <a:rPr lang="en-US" sz="234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234953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Footer+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-1"/>
            <a:ext cx="9144000" cy="4849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193227"/>
            <a:ext cx="5486400" cy="2270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60">
                <a:latin typeface="Graphik Regular"/>
                <a:cs typeface="Graphik Regular"/>
              </a:defRPr>
            </a:lvl1pPr>
            <a:lvl2pPr marL="411480" indent="0">
              <a:buNone/>
              <a:defRPr sz="1080"/>
            </a:lvl2pPr>
            <a:lvl3pPr marL="822960" indent="0">
              <a:buNone/>
              <a:defRPr sz="900"/>
            </a:lvl3pPr>
            <a:lvl4pPr marL="1234440" indent="0">
              <a:buNone/>
              <a:defRPr sz="810"/>
            </a:lvl4pPr>
            <a:lvl5pPr marL="1645920" indent="0">
              <a:buNone/>
              <a:defRPr sz="810"/>
            </a:lvl5pPr>
            <a:lvl6pPr marL="2057400" indent="0">
              <a:buNone/>
              <a:defRPr sz="810"/>
            </a:lvl6pPr>
            <a:lvl7pPr marL="2468880" indent="0">
              <a:buNone/>
              <a:defRPr sz="810"/>
            </a:lvl7pPr>
            <a:lvl8pPr marL="2880360" indent="0">
              <a:buNone/>
              <a:defRPr sz="810"/>
            </a:lvl8pPr>
            <a:lvl9pPr marL="3291840" indent="0">
              <a:buNone/>
              <a:defRPr sz="81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59173" y="5292214"/>
            <a:ext cx="373820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260" smtClean="0">
                <a:solidFill>
                  <a:srgbClr val="FFFFFF"/>
                </a:solidFill>
              </a:rPr>
              <a:pPr/>
              <a:t>‹Nº›</a:t>
            </a:fld>
            <a:endParaRPr lang="en-US" sz="126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230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50" y="317385"/>
            <a:ext cx="4373533" cy="5062697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 userDrawn="1"/>
        </p:nvSpPr>
        <p:spPr>
          <a:xfrm>
            <a:off x="385670" y="317340"/>
            <a:ext cx="2959678" cy="91908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80000"/>
              </a:lnSpc>
            </a:pPr>
            <a:r>
              <a:rPr lang="en-US" sz="2340" dirty="0" smtClean="0">
                <a:solidFill>
                  <a:srgbClr val="7C0622"/>
                </a:solidFill>
                <a:latin typeface="Graphik Medium"/>
                <a:cs typeface="Graphik Medium"/>
              </a:rPr>
              <a:t>UChicago</a:t>
            </a:r>
            <a:r>
              <a:rPr lang="en-US" sz="2340" dirty="0" smtClean="0">
                <a:solidFill>
                  <a:srgbClr val="800000"/>
                </a:solidFill>
                <a:latin typeface="Graphik Medium"/>
                <a:cs typeface="Graphik Medium"/>
              </a:rPr>
              <a:t/>
            </a:r>
            <a:br>
              <a:rPr lang="en-US" sz="2340" dirty="0" smtClean="0">
                <a:solidFill>
                  <a:srgbClr val="800000"/>
                </a:solidFill>
                <a:latin typeface="Graphik Medium"/>
                <a:cs typeface="Graphik Medium"/>
              </a:rPr>
            </a:br>
            <a:r>
              <a:rPr lang="en-US" sz="2340" dirty="0" smtClean="0">
                <a:solidFill>
                  <a:prstClr val="white"/>
                </a:solidFill>
                <a:latin typeface="Graphik Medium"/>
                <a:cs typeface="Graphik Medium"/>
              </a:rPr>
              <a:t>Urban Labs</a:t>
            </a:r>
            <a:endParaRPr lang="en-US" sz="2340" dirty="0">
              <a:solidFill>
                <a:prstClr val="white"/>
              </a:solidFill>
              <a:latin typeface="Graphik Medium"/>
              <a:cs typeface="Graphik Medium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5670" y="2013480"/>
            <a:ext cx="7772400" cy="2516746"/>
          </a:xfrm>
          <a:prstGeom prst="rect">
            <a:avLst/>
          </a:prstGeom>
        </p:spPr>
        <p:txBody>
          <a:bodyPr/>
          <a:lstStyle>
            <a:lvl1pPr algn="l">
              <a:defRPr sz="3780">
                <a:solidFill>
                  <a:schemeClr val="bg1"/>
                </a:solidFill>
                <a:latin typeface="Graphik Extralight"/>
                <a:cs typeface="Graphik Extraligh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867410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Divider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78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21432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1">
    <p:bg>
      <p:bgPr>
        <a:solidFill>
          <a:srgbClr val="4140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78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2550928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600">
                <a:solidFill>
                  <a:schemeClr val="tx1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06683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Slid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072" y="235095"/>
            <a:ext cx="8229600" cy="524997"/>
          </a:xfrm>
          <a:prstGeom prst="rect">
            <a:avLst/>
          </a:prstGeom>
        </p:spPr>
        <p:txBody>
          <a:bodyPr/>
          <a:lstStyle>
            <a:lvl1pPr algn="l">
              <a:defRPr sz="2520"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931" y="1187615"/>
            <a:ext cx="8229600" cy="3917557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800">
                <a:latin typeface="Graphik Regular"/>
                <a:cs typeface="Graphik Regular"/>
              </a:defRPr>
            </a:lvl2pPr>
            <a:lvl3pPr>
              <a:defRPr sz="1620">
                <a:latin typeface="Graphik Regular"/>
                <a:cs typeface="Graphik Regular"/>
              </a:defRPr>
            </a:lvl3pPr>
            <a:lvl4pPr>
              <a:defRPr>
                <a:latin typeface="Graphik Regular"/>
                <a:cs typeface="Graphik Regular"/>
              </a:defRPr>
            </a:lvl4pPr>
            <a:lvl5pPr>
              <a:defRPr>
                <a:latin typeface="Graphik Regular"/>
                <a:cs typeface="Graphik Regular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640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5621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Slid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620">
                <a:latin typeface="Graphik Regular"/>
                <a:cs typeface="Graphik Regular"/>
              </a:defRPr>
            </a:lvl2pPr>
            <a:lvl3pPr>
              <a:defRPr sz="1440">
                <a:latin typeface="Graphik Regular"/>
                <a:cs typeface="Graphik Regular"/>
              </a:defRPr>
            </a:lvl3pPr>
            <a:lvl4pPr>
              <a:defRPr sz="1620">
                <a:latin typeface="Graphik Regular"/>
                <a:cs typeface="Graphik Regular"/>
              </a:defRPr>
            </a:lvl4pPr>
            <a:lvl5pPr>
              <a:defRPr sz="1620">
                <a:latin typeface="Graphik Regular"/>
                <a:cs typeface="Graphik Regular"/>
              </a:defRPr>
            </a:lvl5pPr>
            <a:lvl6pPr>
              <a:defRPr sz="1620"/>
            </a:lvl6pPr>
            <a:lvl7pPr>
              <a:defRPr sz="1620"/>
            </a:lvl7pPr>
            <a:lvl8pPr>
              <a:defRPr sz="1620"/>
            </a:lvl8pPr>
            <a:lvl9pPr>
              <a:defRPr sz="162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620">
                <a:latin typeface="Graphik Regular"/>
                <a:cs typeface="Graphik Regular"/>
              </a:defRPr>
            </a:lvl2pPr>
            <a:lvl3pPr>
              <a:defRPr sz="1440">
                <a:latin typeface="Graphik Regular"/>
                <a:cs typeface="Graphik Regular"/>
              </a:defRPr>
            </a:lvl3pPr>
            <a:lvl4pPr>
              <a:defRPr sz="1620"/>
            </a:lvl4pPr>
            <a:lvl5pPr>
              <a:defRPr sz="1620"/>
            </a:lvl5pPr>
            <a:lvl6pPr>
              <a:defRPr sz="1620"/>
            </a:lvl6pPr>
            <a:lvl7pPr>
              <a:defRPr sz="1620"/>
            </a:lvl7pPr>
            <a:lvl8pPr>
              <a:defRPr sz="1620"/>
            </a:lvl8pPr>
            <a:lvl9pPr>
              <a:defRPr sz="162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368072" y="235079"/>
            <a:ext cx="8229600" cy="9525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Graphik Bold"/>
                <a:ea typeface="+mj-ea"/>
                <a:cs typeface="Graphik Bold"/>
              </a:defRPr>
            </a:lvl1pPr>
          </a:lstStyle>
          <a:p>
            <a:r>
              <a:rPr lang="en-US" sz="2520" dirty="0" smtClean="0">
                <a:solidFill>
                  <a:prstClr val="black"/>
                </a:solidFill>
              </a:rPr>
              <a:t>Click to edit Master title style</a:t>
            </a:r>
            <a:endParaRPr lang="en-US" sz="2520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64095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r>
              <a:rPr lang="en-US" sz="234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42900" y="2811995"/>
            <a:ext cx="8229600" cy="107817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6480">
                <a:solidFill>
                  <a:schemeClr val="bg1"/>
                </a:solidFill>
                <a:latin typeface="Graphik Semibold"/>
                <a:cs typeface="Graphik Semibold"/>
              </a:defRPr>
            </a:lvl1pPr>
          </a:lstStyle>
          <a:p>
            <a:pPr lvl="0"/>
            <a:r>
              <a:rPr lang="en-US" dirty="0" smtClean="0"/>
              <a:t>Click to edi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" y="465429"/>
            <a:ext cx="1707120" cy="1976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80582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No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57188" y="1261810"/>
            <a:ext cx="8329612" cy="464919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57188" y="1968316"/>
            <a:ext cx="8337550" cy="23296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6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91004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17" y="1"/>
            <a:ext cx="3859161" cy="5734846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  <p:sp>
        <p:nvSpPr>
          <p:cNvPr id="18" name="Title 1"/>
          <p:cNvSpPr txBox="1">
            <a:spLocks/>
          </p:cNvSpPr>
          <p:nvPr userDrawn="1"/>
        </p:nvSpPr>
        <p:spPr>
          <a:xfrm>
            <a:off x="4043548" y="371335"/>
            <a:ext cx="4643252" cy="492012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800000"/>
                </a:solidFill>
                <a:latin typeface="Graphik Bold"/>
                <a:ea typeface="+mj-ea"/>
                <a:cs typeface="Graphik Bold"/>
              </a:defRPr>
            </a:lvl1pPr>
          </a:lstStyle>
          <a:p>
            <a:r>
              <a:rPr lang="en-US" sz="2160" smtClean="0"/>
              <a:t>Study Insert:</a:t>
            </a:r>
            <a:endParaRPr lang="en-US" sz="2160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043548" y="1261810"/>
            <a:ext cx="4643252" cy="464919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43548" y="1968345"/>
            <a:ext cx="4651190" cy="345299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6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1290540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Grap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3987814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267709" y="342729"/>
            <a:ext cx="4478019" cy="678433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43565" y="1151123"/>
            <a:ext cx="4734937" cy="2135147"/>
          </a:xfrm>
          <a:prstGeom prst="rect">
            <a:avLst/>
          </a:prstGeom>
        </p:spPr>
        <p:txBody>
          <a:bodyPr vert="horz"/>
          <a:lstStyle>
            <a:lvl1pPr marL="205740" indent="-205740">
              <a:spcBef>
                <a:spcPts val="0"/>
              </a:spcBef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martArt Placeholder 4"/>
          <p:cNvSpPr>
            <a:spLocks noGrp="1"/>
          </p:cNvSpPr>
          <p:nvPr>
            <p:ph type="dgm" sz="quarter" idx="14" hasCustomPrompt="1"/>
          </p:nvPr>
        </p:nvSpPr>
        <p:spPr>
          <a:xfrm>
            <a:off x="357188" y="1151129"/>
            <a:ext cx="3487448" cy="3900013"/>
          </a:xfrm>
          <a:prstGeom prst="rect">
            <a:avLst/>
          </a:prstGeom>
        </p:spPr>
        <p:txBody>
          <a:bodyPr vert="horz"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72402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_Slide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 baseline="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47596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278581538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6083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45350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r>
              <a:rPr lang="en-US" sz="234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15165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5627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Footer+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-1"/>
            <a:ext cx="9144000" cy="4849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193221"/>
            <a:ext cx="5486400" cy="2270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60">
                <a:latin typeface="Graphik Regular"/>
                <a:cs typeface="Graphik Regular"/>
              </a:defRPr>
            </a:lvl1pPr>
            <a:lvl2pPr marL="411480" indent="0">
              <a:buNone/>
              <a:defRPr sz="1080"/>
            </a:lvl2pPr>
            <a:lvl3pPr marL="822960" indent="0">
              <a:buNone/>
              <a:defRPr sz="900"/>
            </a:lvl3pPr>
            <a:lvl4pPr marL="1234440" indent="0">
              <a:buNone/>
              <a:defRPr sz="810"/>
            </a:lvl4pPr>
            <a:lvl5pPr marL="1645920" indent="0">
              <a:buNone/>
              <a:defRPr sz="810"/>
            </a:lvl5pPr>
            <a:lvl6pPr marL="2057400" indent="0">
              <a:buNone/>
              <a:defRPr sz="810"/>
            </a:lvl6pPr>
            <a:lvl7pPr marL="2468880" indent="0">
              <a:buNone/>
              <a:defRPr sz="810"/>
            </a:lvl7pPr>
            <a:lvl8pPr marL="2880360" indent="0">
              <a:buNone/>
              <a:defRPr sz="810"/>
            </a:lvl8pPr>
            <a:lvl9pPr marL="3291840" indent="0">
              <a:buNone/>
              <a:defRPr sz="81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59173" y="5292214"/>
            <a:ext cx="373820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260" smtClean="0">
                <a:solidFill>
                  <a:srgbClr val="FFFFFF"/>
                </a:solidFill>
              </a:rPr>
              <a:pPr/>
              <a:t>‹Nº›</a:t>
            </a:fld>
            <a:endParaRPr lang="en-US" sz="126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61691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50" y="317385"/>
            <a:ext cx="4373533" cy="5062697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 userDrawn="1"/>
        </p:nvSpPr>
        <p:spPr>
          <a:xfrm>
            <a:off x="385670" y="317340"/>
            <a:ext cx="2959678" cy="91908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80000"/>
              </a:lnSpc>
            </a:pPr>
            <a:r>
              <a:rPr lang="en-US" sz="2340" dirty="0" smtClean="0">
                <a:solidFill>
                  <a:srgbClr val="7C0622"/>
                </a:solidFill>
                <a:latin typeface="Graphik Medium"/>
                <a:cs typeface="Graphik Medium"/>
              </a:rPr>
              <a:t>UChicago</a:t>
            </a:r>
            <a:r>
              <a:rPr lang="en-US" sz="2340" dirty="0" smtClean="0">
                <a:solidFill>
                  <a:srgbClr val="800000"/>
                </a:solidFill>
                <a:latin typeface="Graphik Medium"/>
                <a:cs typeface="Graphik Medium"/>
              </a:rPr>
              <a:t/>
            </a:r>
            <a:br>
              <a:rPr lang="en-US" sz="2340" dirty="0" smtClean="0">
                <a:solidFill>
                  <a:srgbClr val="800000"/>
                </a:solidFill>
                <a:latin typeface="Graphik Medium"/>
                <a:cs typeface="Graphik Medium"/>
              </a:rPr>
            </a:br>
            <a:r>
              <a:rPr lang="en-US" sz="2340" dirty="0" smtClean="0">
                <a:solidFill>
                  <a:prstClr val="white"/>
                </a:solidFill>
                <a:latin typeface="Graphik Medium"/>
                <a:cs typeface="Graphik Medium"/>
              </a:rPr>
              <a:t>Urban Labs</a:t>
            </a:r>
            <a:endParaRPr lang="en-US" sz="2340" dirty="0">
              <a:solidFill>
                <a:prstClr val="white"/>
              </a:solidFill>
              <a:latin typeface="Graphik Medium"/>
              <a:cs typeface="Graphik Medium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5670" y="2013480"/>
            <a:ext cx="7772400" cy="2516746"/>
          </a:xfrm>
          <a:prstGeom prst="rect">
            <a:avLst/>
          </a:prstGeom>
        </p:spPr>
        <p:txBody>
          <a:bodyPr/>
          <a:lstStyle>
            <a:lvl1pPr algn="l">
              <a:defRPr sz="3780">
                <a:solidFill>
                  <a:schemeClr val="bg1"/>
                </a:solidFill>
                <a:latin typeface="Graphik Extralight"/>
                <a:cs typeface="Graphik Extraligh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45054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Divider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78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82671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1">
    <p:bg>
      <p:bgPr>
        <a:solidFill>
          <a:srgbClr val="4140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78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3632417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600">
                <a:solidFill>
                  <a:schemeClr val="tx1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31331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Slid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072" y="235095"/>
            <a:ext cx="8229600" cy="524997"/>
          </a:xfrm>
          <a:prstGeom prst="rect">
            <a:avLst/>
          </a:prstGeom>
        </p:spPr>
        <p:txBody>
          <a:bodyPr/>
          <a:lstStyle>
            <a:lvl1pPr algn="l">
              <a:defRPr sz="2520"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931" y="1187615"/>
            <a:ext cx="8229600" cy="3917557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800">
                <a:latin typeface="Graphik Regular"/>
                <a:cs typeface="Graphik Regular"/>
              </a:defRPr>
            </a:lvl2pPr>
            <a:lvl3pPr>
              <a:defRPr sz="1620">
                <a:latin typeface="Graphik Regular"/>
                <a:cs typeface="Graphik Regular"/>
              </a:defRPr>
            </a:lvl3pPr>
            <a:lvl4pPr>
              <a:defRPr>
                <a:latin typeface="Graphik Regular"/>
                <a:cs typeface="Graphik Regular"/>
              </a:defRPr>
            </a:lvl4pPr>
            <a:lvl5pPr>
              <a:defRPr>
                <a:latin typeface="Graphik Regular"/>
                <a:cs typeface="Graphik Regular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41593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Slid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620">
                <a:latin typeface="Graphik Regular"/>
                <a:cs typeface="Graphik Regular"/>
              </a:defRPr>
            </a:lvl2pPr>
            <a:lvl3pPr>
              <a:defRPr sz="1440">
                <a:latin typeface="Graphik Regular"/>
                <a:cs typeface="Graphik Regular"/>
              </a:defRPr>
            </a:lvl3pPr>
            <a:lvl4pPr>
              <a:defRPr sz="1620">
                <a:latin typeface="Graphik Regular"/>
                <a:cs typeface="Graphik Regular"/>
              </a:defRPr>
            </a:lvl4pPr>
            <a:lvl5pPr>
              <a:defRPr sz="1620">
                <a:latin typeface="Graphik Regular"/>
                <a:cs typeface="Graphik Regular"/>
              </a:defRPr>
            </a:lvl5pPr>
            <a:lvl6pPr>
              <a:defRPr sz="1620"/>
            </a:lvl6pPr>
            <a:lvl7pPr>
              <a:defRPr sz="1620"/>
            </a:lvl7pPr>
            <a:lvl8pPr>
              <a:defRPr sz="1620"/>
            </a:lvl8pPr>
            <a:lvl9pPr>
              <a:defRPr sz="162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620">
                <a:latin typeface="Graphik Regular"/>
                <a:cs typeface="Graphik Regular"/>
              </a:defRPr>
            </a:lvl2pPr>
            <a:lvl3pPr>
              <a:defRPr sz="1440">
                <a:latin typeface="Graphik Regular"/>
                <a:cs typeface="Graphik Regular"/>
              </a:defRPr>
            </a:lvl3pPr>
            <a:lvl4pPr>
              <a:defRPr sz="1620"/>
            </a:lvl4pPr>
            <a:lvl5pPr>
              <a:defRPr sz="1620"/>
            </a:lvl5pPr>
            <a:lvl6pPr>
              <a:defRPr sz="1620"/>
            </a:lvl6pPr>
            <a:lvl7pPr>
              <a:defRPr sz="1620"/>
            </a:lvl7pPr>
            <a:lvl8pPr>
              <a:defRPr sz="1620"/>
            </a:lvl8pPr>
            <a:lvl9pPr>
              <a:defRPr sz="162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368072" y="235079"/>
            <a:ext cx="8229600" cy="9525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Graphik Bold"/>
                <a:ea typeface="+mj-ea"/>
                <a:cs typeface="Graphik Bold"/>
              </a:defRPr>
            </a:lvl1pPr>
          </a:lstStyle>
          <a:p>
            <a:r>
              <a:rPr lang="en-US" sz="2520" dirty="0" smtClean="0">
                <a:solidFill>
                  <a:prstClr val="black"/>
                </a:solidFill>
              </a:rPr>
              <a:t>Click to edit Master title style</a:t>
            </a:r>
            <a:endParaRPr lang="en-US" sz="2520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90995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r>
              <a:rPr lang="en-US" sz="234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42900" y="2811995"/>
            <a:ext cx="8229600" cy="107817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6480">
                <a:solidFill>
                  <a:schemeClr val="bg1"/>
                </a:solidFill>
                <a:latin typeface="Graphik Semibold"/>
                <a:cs typeface="Graphik Semibold"/>
              </a:defRPr>
            </a:lvl1pPr>
          </a:lstStyle>
          <a:p>
            <a:pPr lvl="0"/>
            <a:r>
              <a:rPr lang="en-US" dirty="0" smtClean="0"/>
              <a:t>Click to edi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" y="465429"/>
            <a:ext cx="1707120" cy="1976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24986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No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57188" y="1261810"/>
            <a:ext cx="8329612" cy="464919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57188" y="1968316"/>
            <a:ext cx="8337550" cy="23296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6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54580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17" y="1"/>
            <a:ext cx="3859161" cy="5734846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  <p:sp>
        <p:nvSpPr>
          <p:cNvPr id="18" name="Title 1"/>
          <p:cNvSpPr txBox="1">
            <a:spLocks/>
          </p:cNvSpPr>
          <p:nvPr userDrawn="1"/>
        </p:nvSpPr>
        <p:spPr>
          <a:xfrm>
            <a:off x="4043548" y="371335"/>
            <a:ext cx="4643252" cy="492012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800000"/>
                </a:solidFill>
                <a:latin typeface="Graphik Bold"/>
                <a:ea typeface="+mj-ea"/>
                <a:cs typeface="Graphik Bold"/>
              </a:defRPr>
            </a:lvl1pPr>
          </a:lstStyle>
          <a:p>
            <a:r>
              <a:rPr lang="en-US" sz="2160" smtClean="0"/>
              <a:t>Study Insert:</a:t>
            </a:r>
            <a:endParaRPr lang="en-US" sz="2160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043548" y="1261810"/>
            <a:ext cx="4643252" cy="464919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43548" y="1968345"/>
            <a:ext cx="4651190" cy="345299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6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951291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z="260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5821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Grap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3987814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267709" y="342729"/>
            <a:ext cx="4478019" cy="678433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43565" y="1151123"/>
            <a:ext cx="4734937" cy="2135147"/>
          </a:xfrm>
          <a:prstGeom prst="rect">
            <a:avLst/>
          </a:prstGeom>
        </p:spPr>
        <p:txBody>
          <a:bodyPr vert="horz"/>
          <a:lstStyle>
            <a:lvl1pPr marL="205740" indent="-205740">
              <a:spcBef>
                <a:spcPts val="0"/>
              </a:spcBef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martArt Placeholder 4"/>
          <p:cNvSpPr>
            <a:spLocks noGrp="1"/>
          </p:cNvSpPr>
          <p:nvPr>
            <p:ph type="dgm" sz="quarter" idx="14" hasCustomPrompt="1"/>
          </p:nvPr>
        </p:nvSpPr>
        <p:spPr>
          <a:xfrm>
            <a:off x="357188" y="1151129"/>
            <a:ext cx="3487448" cy="3900013"/>
          </a:xfrm>
          <a:prstGeom prst="rect">
            <a:avLst/>
          </a:prstGeom>
        </p:spPr>
        <p:txBody>
          <a:bodyPr vert="horz"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39931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_Slide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 baseline="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66583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137584498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71279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921768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r>
              <a:rPr lang="en-US" sz="234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979052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Footer+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-1"/>
            <a:ext cx="9144000" cy="4849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193213"/>
            <a:ext cx="5486400" cy="2270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60">
                <a:latin typeface="Graphik Regular"/>
                <a:cs typeface="Graphik Regular"/>
              </a:defRPr>
            </a:lvl1pPr>
            <a:lvl2pPr marL="411480" indent="0">
              <a:buNone/>
              <a:defRPr sz="1080"/>
            </a:lvl2pPr>
            <a:lvl3pPr marL="822960" indent="0">
              <a:buNone/>
              <a:defRPr sz="900"/>
            </a:lvl3pPr>
            <a:lvl4pPr marL="1234440" indent="0">
              <a:buNone/>
              <a:defRPr sz="810"/>
            </a:lvl4pPr>
            <a:lvl5pPr marL="1645920" indent="0">
              <a:buNone/>
              <a:defRPr sz="810"/>
            </a:lvl5pPr>
            <a:lvl6pPr marL="2057400" indent="0">
              <a:buNone/>
              <a:defRPr sz="810"/>
            </a:lvl6pPr>
            <a:lvl7pPr marL="2468880" indent="0">
              <a:buNone/>
              <a:defRPr sz="810"/>
            </a:lvl7pPr>
            <a:lvl8pPr marL="2880360" indent="0">
              <a:buNone/>
              <a:defRPr sz="810"/>
            </a:lvl8pPr>
            <a:lvl9pPr marL="3291840" indent="0">
              <a:buNone/>
              <a:defRPr sz="81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59173" y="5292214"/>
            <a:ext cx="373820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260" smtClean="0">
                <a:solidFill>
                  <a:srgbClr val="FFFFFF"/>
                </a:solidFill>
              </a:rPr>
              <a:pPr/>
              <a:t>‹Nº›</a:t>
            </a:fld>
            <a:endParaRPr lang="en-US" sz="126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0538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50" y="317385"/>
            <a:ext cx="4373533" cy="5062697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 userDrawn="1"/>
        </p:nvSpPr>
        <p:spPr>
          <a:xfrm>
            <a:off x="385670" y="317340"/>
            <a:ext cx="2959678" cy="91908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80000"/>
              </a:lnSpc>
            </a:pPr>
            <a:r>
              <a:rPr lang="en-US" sz="2340" dirty="0" smtClean="0">
                <a:solidFill>
                  <a:srgbClr val="7C0622"/>
                </a:solidFill>
                <a:latin typeface="Graphik Medium"/>
                <a:cs typeface="Graphik Medium"/>
              </a:rPr>
              <a:t>UChicago</a:t>
            </a:r>
            <a:r>
              <a:rPr lang="en-US" sz="2340" dirty="0" smtClean="0">
                <a:solidFill>
                  <a:srgbClr val="800000"/>
                </a:solidFill>
                <a:latin typeface="Graphik Medium"/>
                <a:cs typeface="Graphik Medium"/>
              </a:rPr>
              <a:t/>
            </a:r>
            <a:br>
              <a:rPr lang="en-US" sz="2340" dirty="0" smtClean="0">
                <a:solidFill>
                  <a:srgbClr val="800000"/>
                </a:solidFill>
                <a:latin typeface="Graphik Medium"/>
                <a:cs typeface="Graphik Medium"/>
              </a:rPr>
            </a:br>
            <a:r>
              <a:rPr lang="en-US" sz="2340" dirty="0" smtClean="0">
                <a:solidFill>
                  <a:prstClr val="white"/>
                </a:solidFill>
                <a:latin typeface="Graphik Medium"/>
                <a:cs typeface="Graphik Medium"/>
              </a:rPr>
              <a:t>Urban Labs</a:t>
            </a:r>
            <a:endParaRPr lang="en-US" sz="2340" dirty="0">
              <a:solidFill>
                <a:prstClr val="white"/>
              </a:solidFill>
              <a:latin typeface="Graphik Medium"/>
              <a:cs typeface="Graphik Medium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5670" y="2013480"/>
            <a:ext cx="7772400" cy="2516746"/>
          </a:xfrm>
          <a:prstGeom prst="rect">
            <a:avLst/>
          </a:prstGeom>
        </p:spPr>
        <p:txBody>
          <a:bodyPr/>
          <a:lstStyle>
            <a:lvl1pPr algn="l">
              <a:defRPr sz="3780">
                <a:solidFill>
                  <a:schemeClr val="bg1"/>
                </a:solidFill>
                <a:latin typeface="Graphik Extralight"/>
                <a:cs typeface="Graphik Extraligh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297395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Divider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78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14541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1">
    <p:bg>
      <p:bgPr>
        <a:solidFill>
          <a:srgbClr val="4140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78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1973111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Footer+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-1"/>
            <a:ext cx="9144000" cy="4849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193245"/>
            <a:ext cx="5486400" cy="2270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Graphik Regular"/>
                <a:cs typeface="Graphik Regular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59174" y="5292324"/>
            <a:ext cx="3962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400" smtClean="0">
                <a:solidFill>
                  <a:srgbClr val="FFFFFF"/>
                </a:solidFill>
              </a:rPr>
              <a:t>‹Nº›</a:t>
            </a:fld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618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600">
                <a:solidFill>
                  <a:schemeClr val="tx1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18107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Slid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072" y="235095"/>
            <a:ext cx="8229600" cy="524997"/>
          </a:xfrm>
          <a:prstGeom prst="rect">
            <a:avLst/>
          </a:prstGeom>
        </p:spPr>
        <p:txBody>
          <a:bodyPr/>
          <a:lstStyle>
            <a:lvl1pPr algn="l">
              <a:defRPr sz="2520"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931" y="1187615"/>
            <a:ext cx="8229600" cy="3917557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800">
                <a:latin typeface="Graphik Regular"/>
                <a:cs typeface="Graphik Regular"/>
              </a:defRPr>
            </a:lvl2pPr>
            <a:lvl3pPr>
              <a:defRPr sz="1620">
                <a:latin typeface="Graphik Regular"/>
                <a:cs typeface="Graphik Regular"/>
              </a:defRPr>
            </a:lvl3pPr>
            <a:lvl4pPr>
              <a:defRPr>
                <a:latin typeface="Graphik Regular"/>
                <a:cs typeface="Graphik Regular"/>
              </a:defRPr>
            </a:lvl4pPr>
            <a:lvl5pPr>
              <a:defRPr>
                <a:latin typeface="Graphik Regular"/>
                <a:cs typeface="Graphik Regular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97819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Slid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620">
                <a:latin typeface="Graphik Regular"/>
                <a:cs typeface="Graphik Regular"/>
              </a:defRPr>
            </a:lvl2pPr>
            <a:lvl3pPr>
              <a:defRPr sz="1440">
                <a:latin typeface="Graphik Regular"/>
                <a:cs typeface="Graphik Regular"/>
              </a:defRPr>
            </a:lvl3pPr>
            <a:lvl4pPr>
              <a:defRPr sz="1620">
                <a:latin typeface="Graphik Regular"/>
                <a:cs typeface="Graphik Regular"/>
              </a:defRPr>
            </a:lvl4pPr>
            <a:lvl5pPr>
              <a:defRPr sz="1620">
                <a:latin typeface="Graphik Regular"/>
                <a:cs typeface="Graphik Regular"/>
              </a:defRPr>
            </a:lvl5pPr>
            <a:lvl6pPr>
              <a:defRPr sz="1620"/>
            </a:lvl6pPr>
            <a:lvl7pPr>
              <a:defRPr sz="1620"/>
            </a:lvl7pPr>
            <a:lvl8pPr>
              <a:defRPr sz="1620"/>
            </a:lvl8pPr>
            <a:lvl9pPr>
              <a:defRPr sz="162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620">
                <a:latin typeface="Graphik Regular"/>
                <a:cs typeface="Graphik Regular"/>
              </a:defRPr>
            </a:lvl2pPr>
            <a:lvl3pPr>
              <a:defRPr sz="1440">
                <a:latin typeface="Graphik Regular"/>
                <a:cs typeface="Graphik Regular"/>
              </a:defRPr>
            </a:lvl3pPr>
            <a:lvl4pPr>
              <a:defRPr sz="1620"/>
            </a:lvl4pPr>
            <a:lvl5pPr>
              <a:defRPr sz="1620"/>
            </a:lvl5pPr>
            <a:lvl6pPr>
              <a:defRPr sz="1620"/>
            </a:lvl6pPr>
            <a:lvl7pPr>
              <a:defRPr sz="1620"/>
            </a:lvl7pPr>
            <a:lvl8pPr>
              <a:defRPr sz="1620"/>
            </a:lvl8pPr>
            <a:lvl9pPr>
              <a:defRPr sz="162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368072" y="235079"/>
            <a:ext cx="8229600" cy="9525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Graphik Bold"/>
                <a:ea typeface="+mj-ea"/>
                <a:cs typeface="Graphik Bold"/>
              </a:defRPr>
            </a:lvl1pPr>
          </a:lstStyle>
          <a:p>
            <a:r>
              <a:rPr lang="en-US" sz="2520" dirty="0" smtClean="0">
                <a:solidFill>
                  <a:prstClr val="black"/>
                </a:solidFill>
              </a:rPr>
              <a:t>Click to edit Master title style</a:t>
            </a:r>
            <a:endParaRPr lang="en-US" sz="2520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2874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r>
              <a:rPr lang="en-US" sz="234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42900" y="2811995"/>
            <a:ext cx="8229600" cy="107817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6480">
                <a:solidFill>
                  <a:schemeClr val="bg1"/>
                </a:solidFill>
                <a:latin typeface="Graphik Semibold"/>
                <a:cs typeface="Graphik Semibold"/>
              </a:defRPr>
            </a:lvl1pPr>
          </a:lstStyle>
          <a:p>
            <a:pPr lvl="0"/>
            <a:r>
              <a:rPr lang="en-US" dirty="0" smtClean="0"/>
              <a:t>Click to edi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" y="465429"/>
            <a:ext cx="1707120" cy="1976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38190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No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57188" y="1261808"/>
            <a:ext cx="8329612" cy="464919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57188" y="1968316"/>
            <a:ext cx="8337550" cy="23296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6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99492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17" y="1"/>
            <a:ext cx="3859161" cy="5734846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  <p:sp>
        <p:nvSpPr>
          <p:cNvPr id="18" name="Title 1"/>
          <p:cNvSpPr txBox="1">
            <a:spLocks/>
          </p:cNvSpPr>
          <p:nvPr userDrawn="1"/>
        </p:nvSpPr>
        <p:spPr>
          <a:xfrm>
            <a:off x="4043548" y="371335"/>
            <a:ext cx="4643252" cy="492012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800000"/>
                </a:solidFill>
                <a:latin typeface="Graphik Bold"/>
                <a:ea typeface="+mj-ea"/>
                <a:cs typeface="Graphik Bold"/>
              </a:defRPr>
            </a:lvl1pPr>
          </a:lstStyle>
          <a:p>
            <a:r>
              <a:rPr lang="en-US" sz="2160" smtClean="0"/>
              <a:t>Study Insert:</a:t>
            </a:r>
            <a:endParaRPr lang="en-US" sz="2160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043548" y="1261808"/>
            <a:ext cx="4643252" cy="464919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43548" y="1968345"/>
            <a:ext cx="4651190" cy="345299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6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3184017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Grap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3987814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267709" y="342729"/>
            <a:ext cx="4478019" cy="678433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43565" y="1151123"/>
            <a:ext cx="4734937" cy="2135147"/>
          </a:xfrm>
          <a:prstGeom prst="rect">
            <a:avLst/>
          </a:prstGeom>
        </p:spPr>
        <p:txBody>
          <a:bodyPr vert="horz"/>
          <a:lstStyle>
            <a:lvl1pPr marL="205740" indent="-205740">
              <a:spcBef>
                <a:spcPts val="0"/>
              </a:spcBef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martArt Placeholder 4"/>
          <p:cNvSpPr>
            <a:spLocks noGrp="1"/>
          </p:cNvSpPr>
          <p:nvPr>
            <p:ph type="dgm" sz="quarter" idx="14" hasCustomPrompt="1"/>
          </p:nvPr>
        </p:nvSpPr>
        <p:spPr>
          <a:xfrm>
            <a:off x="357188" y="1151129"/>
            <a:ext cx="3487448" cy="3900013"/>
          </a:xfrm>
          <a:prstGeom prst="rect">
            <a:avLst/>
          </a:prstGeom>
        </p:spPr>
        <p:txBody>
          <a:bodyPr vert="horz"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076924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_Slide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 baseline="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49490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1221016115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1426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0506"/>
            <a:ext cx="8229600" cy="94985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5203033"/>
            <a:ext cx="2133600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5207000"/>
            <a:ext cx="2895600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5203033"/>
            <a:ext cx="2133600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45D2E7F-2321-47CD-B1C0-1F88E629D7D4}" type="slidenum">
              <a:rPr lang="en-US" altLang="en-US">
                <a:solidFill>
                  <a:srgbClr val="CCCCFF"/>
                </a:solidFill>
              </a:rPr>
              <a:pPr/>
              <a:t>‹Nº›</a:t>
            </a:fld>
            <a:endParaRPr lang="en-US" altLang="en-US">
              <a:solidFill>
                <a:srgbClr val="CC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23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64440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r>
              <a:rPr lang="en-US" sz="234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36242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Footer+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-1"/>
            <a:ext cx="9144000" cy="4849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193203"/>
            <a:ext cx="5486400" cy="2270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60">
                <a:latin typeface="Graphik Regular"/>
                <a:cs typeface="Graphik Regular"/>
              </a:defRPr>
            </a:lvl1pPr>
            <a:lvl2pPr marL="411480" indent="0">
              <a:buNone/>
              <a:defRPr sz="1080"/>
            </a:lvl2pPr>
            <a:lvl3pPr marL="822960" indent="0">
              <a:buNone/>
              <a:defRPr sz="900"/>
            </a:lvl3pPr>
            <a:lvl4pPr marL="1234440" indent="0">
              <a:buNone/>
              <a:defRPr sz="810"/>
            </a:lvl4pPr>
            <a:lvl5pPr marL="1645920" indent="0">
              <a:buNone/>
              <a:defRPr sz="810"/>
            </a:lvl5pPr>
            <a:lvl6pPr marL="2057400" indent="0">
              <a:buNone/>
              <a:defRPr sz="810"/>
            </a:lvl6pPr>
            <a:lvl7pPr marL="2468880" indent="0">
              <a:buNone/>
              <a:defRPr sz="810"/>
            </a:lvl7pPr>
            <a:lvl8pPr marL="2880360" indent="0">
              <a:buNone/>
              <a:defRPr sz="810"/>
            </a:lvl8pPr>
            <a:lvl9pPr marL="3291840" indent="0">
              <a:buNone/>
              <a:defRPr sz="81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59173" y="5292214"/>
            <a:ext cx="373820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260" smtClean="0">
                <a:solidFill>
                  <a:srgbClr val="FFFFFF"/>
                </a:solidFill>
              </a:rPr>
              <a:pPr/>
              <a:t>‹Nº›</a:t>
            </a:fld>
            <a:endParaRPr lang="en-US" sz="126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17210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50" y="317366"/>
            <a:ext cx="4373533" cy="5062697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 userDrawn="1"/>
        </p:nvSpPr>
        <p:spPr>
          <a:xfrm>
            <a:off x="385670" y="317340"/>
            <a:ext cx="2959678" cy="91908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80000"/>
              </a:lnSpc>
            </a:pPr>
            <a:r>
              <a:rPr lang="en-US" sz="2340" dirty="0" smtClean="0">
                <a:solidFill>
                  <a:srgbClr val="7C0622"/>
                </a:solidFill>
                <a:latin typeface="Graphik Medium"/>
                <a:cs typeface="Graphik Medium"/>
              </a:rPr>
              <a:t>UChicago</a:t>
            </a:r>
            <a:r>
              <a:rPr lang="en-US" sz="2340" dirty="0" smtClean="0">
                <a:solidFill>
                  <a:srgbClr val="800000"/>
                </a:solidFill>
                <a:latin typeface="Graphik Medium"/>
                <a:cs typeface="Graphik Medium"/>
              </a:rPr>
              <a:t/>
            </a:r>
            <a:br>
              <a:rPr lang="en-US" sz="2340" dirty="0" smtClean="0">
                <a:solidFill>
                  <a:srgbClr val="800000"/>
                </a:solidFill>
                <a:latin typeface="Graphik Medium"/>
                <a:cs typeface="Graphik Medium"/>
              </a:rPr>
            </a:br>
            <a:r>
              <a:rPr lang="en-US" sz="2340" dirty="0" smtClean="0">
                <a:solidFill>
                  <a:prstClr val="white"/>
                </a:solidFill>
                <a:latin typeface="Graphik Medium"/>
                <a:cs typeface="Graphik Medium"/>
              </a:rPr>
              <a:t>Urban Labs</a:t>
            </a:r>
            <a:endParaRPr lang="en-US" sz="2340" dirty="0">
              <a:solidFill>
                <a:prstClr val="white"/>
              </a:solidFill>
              <a:latin typeface="Graphik Medium"/>
              <a:cs typeface="Graphik Medium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5670" y="2013480"/>
            <a:ext cx="7772400" cy="2516746"/>
          </a:xfrm>
          <a:prstGeom prst="rect">
            <a:avLst/>
          </a:prstGeom>
        </p:spPr>
        <p:txBody>
          <a:bodyPr/>
          <a:lstStyle>
            <a:lvl1pPr algn="l">
              <a:defRPr sz="3780">
                <a:solidFill>
                  <a:schemeClr val="bg1"/>
                </a:solidFill>
                <a:latin typeface="Graphik Extralight"/>
                <a:cs typeface="Graphik Extraligh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20962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Divider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78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20064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1">
    <p:bg>
      <p:bgPr>
        <a:solidFill>
          <a:srgbClr val="4140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78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1233850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600">
                <a:solidFill>
                  <a:schemeClr val="tx1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575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Slid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072" y="235095"/>
            <a:ext cx="8229600" cy="524997"/>
          </a:xfrm>
          <a:prstGeom prst="rect">
            <a:avLst/>
          </a:prstGeom>
        </p:spPr>
        <p:txBody>
          <a:bodyPr/>
          <a:lstStyle>
            <a:lvl1pPr algn="l">
              <a:defRPr sz="2520"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931" y="1187606"/>
            <a:ext cx="8229600" cy="3917557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800">
                <a:latin typeface="Graphik Regular"/>
                <a:cs typeface="Graphik Regular"/>
              </a:defRPr>
            </a:lvl2pPr>
            <a:lvl3pPr>
              <a:defRPr sz="1620">
                <a:latin typeface="Graphik Regular"/>
                <a:cs typeface="Graphik Regular"/>
              </a:defRPr>
            </a:lvl3pPr>
            <a:lvl4pPr>
              <a:defRPr>
                <a:latin typeface="Graphik Regular"/>
                <a:cs typeface="Graphik Regular"/>
              </a:defRPr>
            </a:lvl4pPr>
            <a:lvl5pPr>
              <a:defRPr>
                <a:latin typeface="Graphik Regular"/>
                <a:cs typeface="Graphik Regular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728490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Slid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620">
                <a:latin typeface="Graphik Regular"/>
                <a:cs typeface="Graphik Regular"/>
              </a:defRPr>
            </a:lvl2pPr>
            <a:lvl3pPr>
              <a:defRPr sz="1440">
                <a:latin typeface="Graphik Regular"/>
                <a:cs typeface="Graphik Regular"/>
              </a:defRPr>
            </a:lvl3pPr>
            <a:lvl4pPr>
              <a:defRPr sz="1620">
                <a:latin typeface="Graphik Regular"/>
                <a:cs typeface="Graphik Regular"/>
              </a:defRPr>
            </a:lvl4pPr>
            <a:lvl5pPr>
              <a:defRPr sz="1620">
                <a:latin typeface="Graphik Regular"/>
                <a:cs typeface="Graphik Regular"/>
              </a:defRPr>
            </a:lvl5pPr>
            <a:lvl6pPr>
              <a:defRPr sz="1620"/>
            </a:lvl6pPr>
            <a:lvl7pPr>
              <a:defRPr sz="1620"/>
            </a:lvl7pPr>
            <a:lvl8pPr>
              <a:defRPr sz="1620"/>
            </a:lvl8pPr>
            <a:lvl9pPr>
              <a:defRPr sz="162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620">
                <a:latin typeface="Graphik Regular"/>
                <a:cs typeface="Graphik Regular"/>
              </a:defRPr>
            </a:lvl2pPr>
            <a:lvl3pPr>
              <a:defRPr sz="1440">
                <a:latin typeface="Graphik Regular"/>
                <a:cs typeface="Graphik Regular"/>
              </a:defRPr>
            </a:lvl3pPr>
            <a:lvl4pPr>
              <a:defRPr sz="1620"/>
            </a:lvl4pPr>
            <a:lvl5pPr>
              <a:defRPr sz="1620"/>
            </a:lvl5pPr>
            <a:lvl6pPr>
              <a:defRPr sz="1620"/>
            </a:lvl6pPr>
            <a:lvl7pPr>
              <a:defRPr sz="1620"/>
            </a:lvl7pPr>
            <a:lvl8pPr>
              <a:defRPr sz="1620"/>
            </a:lvl8pPr>
            <a:lvl9pPr>
              <a:defRPr sz="162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368072" y="235079"/>
            <a:ext cx="8229600" cy="9525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Graphik Bold"/>
                <a:ea typeface="+mj-ea"/>
                <a:cs typeface="Graphik Bold"/>
              </a:defRPr>
            </a:lvl1pPr>
          </a:lstStyle>
          <a:p>
            <a:r>
              <a:rPr lang="en-US" sz="2520" dirty="0" smtClean="0">
                <a:solidFill>
                  <a:prstClr val="black"/>
                </a:solidFill>
              </a:rPr>
              <a:t>Click to edit Master title style</a:t>
            </a:r>
            <a:endParaRPr lang="en-US" sz="2520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29055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r>
              <a:rPr lang="en-US" sz="234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42900" y="2811995"/>
            <a:ext cx="8229600" cy="107817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6480">
                <a:solidFill>
                  <a:schemeClr val="bg1"/>
                </a:solidFill>
                <a:latin typeface="Graphik Semibold"/>
                <a:cs typeface="Graphik Semibold"/>
              </a:defRPr>
            </a:lvl1pPr>
          </a:lstStyle>
          <a:p>
            <a:pPr lvl="0"/>
            <a:r>
              <a:rPr lang="en-US" dirty="0" smtClean="0"/>
              <a:t>Click to edi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" y="465429"/>
            <a:ext cx="1707120" cy="1976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714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12" y="1270000"/>
            <a:ext cx="7623175" cy="1460500"/>
          </a:xfrm>
        </p:spPr>
        <p:txBody>
          <a:bodyPr/>
          <a:lstStyle>
            <a:lvl1pPr>
              <a:defRPr sz="5000"/>
            </a:lvl1pPr>
          </a:lstStyle>
          <a:p>
            <a:pPr lvl="0"/>
            <a:r>
              <a:rPr lang="en-US" altLang="en-US" noProof="0" smtClean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1200" y="3302000"/>
            <a:ext cx="6553200" cy="1460500"/>
          </a:xfrm>
        </p:spPr>
        <p:txBody>
          <a:bodyPr/>
          <a:lstStyle>
            <a:lvl1pPr marL="0" indent="0">
              <a:defRPr sz="2800"/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124200" y="5203033"/>
            <a:ext cx="2895600" cy="381000"/>
          </a:xfrm>
        </p:spPr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91EC5269-20FD-42A4-91E3-ACF86E362717}" type="slidenum">
              <a:rPr lang="en-US" altLang="en-US">
                <a:solidFill>
                  <a:srgbClr val="CCCCFF"/>
                </a:solidFill>
              </a:rPr>
              <a:pPr/>
              <a:t>‹Nº›</a:t>
            </a:fld>
            <a:endParaRPr lang="en-US" altLang="en-US">
              <a:solidFill>
                <a:srgbClr val="CC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579101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No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57188" y="1261790"/>
            <a:ext cx="8329612" cy="464919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57188" y="1968316"/>
            <a:ext cx="8337550" cy="23296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6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86557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17" y="1"/>
            <a:ext cx="3859161" cy="5734846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  <p:sp>
        <p:nvSpPr>
          <p:cNvPr id="18" name="Title 1"/>
          <p:cNvSpPr txBox="1">
            <a:spLocks/>
          </p:cNvSpPr>
          <p:nvPr userDrawn="1"/>
        </p:nvSpPr>
        <p:spPr>
          <a:xfrm>
            <a:off x="4043548" y="371335"/>
            <a:ext cx="4643252" cy="492012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800000"/>
                </a:solidFill>
                <a:latin typeface="Graphik Bold"/>
                <a:ea typeface="+mj-ea"/>
                <a:cs typeface="Graphik Bold"/>
              </a:defRPr>
            </a:lvl1pPr>
          </a:lstStyle>
          <a:p>
            <a:r>
              <a:rPr lang="en-US" sz="2160" smtClean="0"/>
              <a:t>Study Insert:</a:t>
            </a:r>
            <a:endParaRPr lang="en-US" sz="2160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043548" y="1261790"/>
            <a:ext cx="4643252" cy="464919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43548" y="1968340"/>
            <a:ext cx="4651190" cy="345299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6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5300901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Grap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3987814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267709" y="342729"/>
            <a:ext cx="4478019" cy="678433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43565" y="1151123"/>
            <a:ext cx="4734937" cy="2135147"/>
          </a:xfrm>
          <a:prstGeom prst="rect">
            <a:avLst/>
          </a:prstGeom>
        </p:spPr>
        <p:txBody>
          <a:bodyPr vert="horz"/>
          <a:lstStyle>
            <a:lvl1pPr marL="205740" indent="-205740">
              <a:spcBef>
                <a:spcPts val="0"/>
              </a:spcBef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martArt Placeholder 4"/>
          <p:cNvSpPr>
            <a:spLocks noGrp="1"/>
          </p:cNvSpPr>
          <p:nvPr>
            <p:ph type="dgm" sz="quarter" idx="14" hasCustomPrompt="1"/>
          </p:nvPr>
        </p:nvSpPr>
        <p:spPr>
          <a:xfrm>
            <a:off x="357188" y="1151129"/>
            <a:ext cx="3487448" cy="3900013"/>
          </a:xfrm>
          <a:prstGeom prst="rect">
            <a:avLst/>
          </a:prstGeom>
        </p:spPr>
        <p:txBody>
          <a:bodyPr vert="horz"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97034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_Slide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 baseline="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47266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345924050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86417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719780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r>
              <a:rPr lang="en-US" sz="234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697926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Footer+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-1"/>
            <a:ext cx="9144000" cy="4849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193185"/>
            <a:ext cx="5486400" cy="2270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60">
                <a:latin typeface="Graphik Regular"/>
                <a:cs typeface="Graphik Regular"/>
              </a:defRPr>
            </a:lvl1pPr>
            <a:lvl2pPr marL="411480" indent="0">
              <a:buNone/>
              <a:defRPr sz="1080"/>
            </a:lvl2pPr>
            <a:lvl3pPr marL="822960" indent="0">
              <a:buNone/>
              <a:defRPr sz="900"/>
            </a:lvl3pPr>
            <a:lvl4pPr marL="1234440" indent="0">
              <a:buNone/>
              <a:defRPr sz="810"/>
            </a:lvl4pPr>
            <a:lvl5pPr marL="1645920" indent="0">
              <a:buNone/>
              <a:defRPr sz="810"/>
            </a:lvl5pPr>
            <a:lvl6pPr marL="2057400" indent="0">
              <a:buNone/>
              <a:defRPr sz="810"/>
            </a:lvl6pPr>
            <a:lvl7pPr marL="2468880" indent="0">
              <a:buNone/>
              <a:defRPr sz="810"/>
            </a:lvl7pPr>
            <a:lvl8pPr marL="2880360" indent="0">
              <a:buNone/>
              <a:defRPr sz="810"/>
            </a:lvl8pPr>
            <a:lvl9pPr marL="3291840" indent="0">
              <a:buNone/>
              <a:defRPr sz="81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59173" y="5292214"/>
            <a:ext cx="373820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260" smtClean="0">
                <a:solidFill>
                  <a:srgbClr val="FFFFFF"/>
                </a:solidFill>
              </a:rPr>
              <a:pPr/>
              <a:t>‹Nº›</a:t>
            </a:fld>
            <a:endParaRPr lang="en-US" sz="126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40356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50" y="317356"/>
            <a:ext cx="4373533" cy="5062697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 userDrawn="1"/>
        </p:nvSpPr>
        <p:spPr>
          <a:xfrm>
            <a:off x="385670" y="317340"/>
            <a:ext cx="2959678" cy="91908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80000"/>
              </a:lnSpc>
            </a:pPr>
            <a:r>
              <a:rPr lang="en-US" sz="2340" dirty="0" smtClean="0">
                <a:solidFill>
                  <a:srgbClr val="7C0622"/>
                </a:solidFill>
                <a:latin typeface="Graphik Medium"/>
                <a:cs typeface="Graphik Medium"/>
              </a:rPr>
              <a:t>UChicago</a:t>
            </a:r>
            <a:r>
              <a:rPr lang="en-US" sz="2340" dirty="0" smtClean="0">
                <a:solidFill>
                  <a:srgbClr val="800000"/>
                </a:solidFill>
                <a:latin typeface="Graphik Medium"/>
                <a:cs typeface="Graphik Medium"/>
              </a:rPr>
              <a:t/>
            </a:r>
            <a:br>
              <a:rPr lang="en-US" sz="2340" dirty="0" smtClean="0">
                <a:solidFill>
                  <a:srgbClr val="800000"/>
                </a:solidFill>
                <a:latin typeface="Graphik Medium"/>
                <a:cs typeface="Graphik Medium"/>
              </a:rPr>
            </a:br>
            <a:r>
              <a:rPr lang="en-US" sz="2340" dirty="0" smtClean="0">
                <a:solidFill>
                  <a:prstClr val="white"/>
                </a:solidFill>
                <a:latin typeface="Graphik Medium"/>
                <a:cs typeface="Graphik Medium"/>
              </a:rPr>
              <a:t>Urban Labs</a:t>
            </a:r>
            <a:endParaRPr lang="en-US" sz="2340" dirty="0">
              <a:solidFill>
                <a:prstClr val="white"/>
              </a:solidFill>
              <a:latin typeface="Graphik Medium"/>
              <a:cs typeface="Graphik Medium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5670" y="2013480"/>
            <a:ext cx="7772400" cy="2516746"/>
          </a:xfrm>
          <a:prstGeom prst="rect">
            <a:avLst/>
          </a:prstGeom>
        </p:spPr>
        <p:txBody>
          <a:bodyPr/>
          <a:lstStyle>
            <a:lvl1pPr algn="l">
              <a:defRPr sz="3780">
                <a:solidFill>
                  <a:schemeClr val="bg1"/>
                </a:solidFill>
                <a:latin typeface="Graphik Extralight"/>
                <a:cs typeface="Graphik Extraligh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74056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>
              <a:solidFill>
                <a:srgbClr val="CCCC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7FEBFF3-FDB4-44F1-96E6-634A1A3AA579}" type="slidenum">
              <a:rPr lang="en-US" altLang="en-US">
                <a:solidFill>
                  <a:srgbClr val="CCCCFF"/>
                </a:solidFill>
              </a:rPr>
              <a:pPr/>
              <a:t>‹Nº›</a:t>
            </a:fld>
            <a:endParaRPr lang="en-US" altLang="en-US">
              <a:solidFill>
                <a:srgbClr val="CC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938691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Divider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78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8713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1">
    <p:bg>
      <p:bgPr>
        <a:solidFill>
          <a:srgbClr val="4140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78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2160620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600">
                <a:solidFill>
                  <a:schemeClr val="tx1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56646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Slid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072" y="235093"/>
            <a:ext cx="8229600" cy="524997"/>
          </a:xfrm>
          <a:prstGeom prst="rect">
            <a:avLst/>
          </a:prstGeom>
        </p:spPr>
        <p:txBody>
          <a:bodyPr/>
          <a:lstStyle>
            <a:lvl1pPr algn="l">
              <a:defRPr sz="2520"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931" y="1187595"/>
            <a:ext cx="8229600" cy="3917557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800">
                <a:latin typeface="Graphik Regular"/>
                <a:cs typeface="Graphik Regular"/>
              </a:defRPr>
            </a:lvl2pPr>
            <a:lvl3pPr>
              <a:defRPr sz="1620">
                <a:latin typeface="Graphik Regular"/>
                <a:cs typeface="Graphik Regular"/>
              </a:defRPr>
            </a:lvl3pPr>
            <a:lvl4pPr>
              <a:defRPr>
                <a:latin typeface="Graphik Regular"/>
                <a:cs typeface="Graphik Regular"/>
              </a:defRPr>
            </a:lvl4pPr>
            <a:lvl5pPr>
              <a:defRPr>
                <a:latin typeface="Graphik Regular"/>
                <a:cs typeface="Graphik Regular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133759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Slid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620">
                <a:latin typeface="Graphik Regular"/>
                <a:cs typeface="Graphik Regular"/>
              </a:defRPr>
            </a:lvl2pPr>
            <a:lvl3pPr>
              <a:defRPr sz="1440">
                <a:latin typeface="Graphik Regular"/>
                <a:cs typeface="Graphik Regular"/>
              </a:defRPr>
            </a:lvl3pPr>
            <a:lvl4pPr>
              <a:defRPr sz="1620">
                <a:latin typeface="Graphik Regular"/>
                <a:cs typeface="Graphik Regular"/>
              </a:defRPr>
            </a:lvl4pPr>
            <a:lvl5pPr>
              <a:defRPr sz="1620">
                <a:latin typeface="Graphik Regular"/>
                <a:cs typeface="Graphik Regular"/>
              </a:defRPr>
            </a:lvl5pPr>
            <a:lvl6pPr>
              <a:defRPr sz="1620"/>
            </a:lvl6pPr>
            <a:lvl7pPr>
              <a:defRPr sz="1620"/>
            </a:lvl7pPr>
            <a:lvl8pPr>
              <a:defRPr sz="1620"/>
            </a:lvl8pPr>
            <a:lvl9pPr>
              <a:defRPr sz="162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620">
                <a:latin typeface="Graphik Regular"/>
                <a:cs typeface="Graphik Regular"/>
              </a:defRPr>
            </a:lvl2pPr>
            <a:lvl3pPr>
              <a:defRPr sz="1440">
                <a:latin typeface="Graphik Regular"/>
                <a:cs typeface="Graphik Regular"/>
              </a:defRPr>
            </a:lvl3pPr>
            <a:lvl4pPr>
              <a:defRPr sz="1620"/>
            </a:lvl4pPr>
            <a:lvl5pPr>
              <a:defRPr sz="1620"/>
            </a:lvl5pPr>
            <a:lvl6pPr>
              <a:defRPr sz="1620"/>
            </a:lvl6pPr>
            <a:lvl7pPr>
              <a:defRPr sz="1620"/>
            </a:lvl7pPr>
            <a:lvl8pPr>
              <a:defRPr sz="1620"/>
            </a:lvl8pPr>
            <a:lvl9pPr>
              <a:defRPr sz="162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368072" y="235079"/>
            <a:ext cx="8229600" cy="9525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Graphik Bold"/>
                <a:ea typeface="+mj-ea"/>
                <a:cs typeface="Graphik Bold"/>
              </a:defRPr>
            </a:lvl1pPr>
          </a:lstStyle>
          <a:p>
            <a:r>
              <a:rPr lang="en-US" sz="2520" dirty="0" smtClean="0">
                <a:solidFill>
                  <a:prstClr val="black"/>
                </a:solidFill>
              </a:rPr>
              <a:t>Click to edit Master title style</a:t>
            </a:r>
            <a:endParaRPr lang="en-US" sz="2520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51647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r>
              <a:rPr lang="en-US" sz="234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42900" y="2811995"/>
            <a:ext cx="8229600" cy="107817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6480">
                <a:solidFill>
                  <a:schemeClr val="bg1"/>
                </a:solidFill>
                <a:latin typeface="Graphik Semibold"/>
                <a:cs typeface="Graphik Semibold"/>
              </a:defRPr>
            </a:lvl1pPr>
          </a:lstStyle>
          <a:p>
            <a:pPr lvl="0"/>
            <a:r>
              <a:rPr lang="en-US" dirty="0" smtClean="0"/>
              <a:t>Click to edi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" y="465429"/>
            <a:ext cx="1707120" cy="1976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25654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No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57188" y="1261779"/>
            <a:ext cx="8329612" cy="464919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57188" y="1968316"/>
            <a:ext cx="8337550" cy="23296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6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84683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17" y="1"/>
            <a:ext cx="3859161" cy="5734846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  <p:sp>
        <p:nvSpPr>
          <p:cNvPr id="18" name="Title 1"/>
          <p:cNvSpPr txBox="1">
            <a:spLocks/>
          </p:cNvSpPr>
          <p:nvPr userDrawn="1"/>
        </p:nvSpPr>
        <p:spPr>
          <a:xfrm>
            <a:off x="4043548" y="371335"/>
            <a:ext cx="4643252" cy="492012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800000"/>
                </a:solidFill>
                <a:latin typeface="Graphik Bold"/>
                <a:ea typeface="+mj-ea"/>
                <a:cs typeface="Graphik Bold"/>
              </a:defRPr>
            </a:lvl1pPr>
          </a:lstStyle>
          <a:p>
            <a:r>
              <a:rPr lang="en-US" sz="2160" smtClean="0"/>
              <a:t>Study Insert:</a:t>
            </a:r>
            <a:endParaRPr lang="en-US" sz="2160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043548" y="1261779"/>
            <a:ext cx="4643252" cy="464919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43548" y="1968328"/>
            <a:ext cx="4651190" cy="345299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6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2558462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Grap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3987814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267709" y="342729"/>
            <a:ext cx="4478019" cy="678433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43565" y="1151123"/>
            <a:ext cx="4734937" cy="2135147"/>
          </a:xfrm>
          <a:prstGeom prst="rect">
            <a:avLst/>
          </a:prstGeom>
        </p:spPr>
        <p:txBody>
          <a:bodyPr vert="horz"/>
          <a:lstStyle>
            <a:lvl1pPr marL="205740" indent="-205740">
              <a:spcBef>
                <a:spcPts val="0"/>
              </a:spcBef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martArt Placeholder 4"/>
          <p:cNvSpPr>
            <a:spLocks noGrp="1"/>
          </p:cNvSpPr>
          <p:nvPr>
            <p:ph type="dgm" sz="quarter" idx="14" hasCustomPrompt="1"/>
          </p:nvPr>
        </p:nvSpPr>
        <p:spPr>
          <a:xfrm>
            <a:off x="357188" y="1151129"/>
            <a:ext cx="3487448" cy="3900013"/>
          </a:xfrm>
          <a:prstGeom prst="rect">
            <a:avLst/>
          </a:prstGeom>
        </p:spPr>
        <p:txBody>
          <a:bodyPr vert="horz"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04979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_Slide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 baseline="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1877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Divider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420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t>6/28/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9188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672480"/>
            <a:ext cx="7772400" cy="113506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59FDFD5-68F4-471C-8066-AF677B568488}" type="slidenum">
              <a:rPr lang="en-US" altLang="en-US">
                <a:solidFill>
                  <a:srgbClr val="CCCCFF"/>
                </a:solidFill>
              </a:rPr>
              <a:pPr/>
              <a:t>‹Nº›</a:t>
            </a:fld>
            <a:endParaRPr lang="en-US" altLang="en-US">
              <a:solidFill>
                <a:srgbClr val="CC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475389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602826500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31756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441782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r>
              <a:rPr lang="en-US" sz="234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159960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Footer+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-1"/>
            <a:ext cx="9144000" cy="4849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193174"/>
            <a:ext cx="5486400" cy="2270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60">
                <a:latin typeface="Graphik Regular"/>
                <a:cs typeface="Graphik Regular"/>
              </a:defRPr>
            </a:lvl1pPr>
            <a:lvl2pPr marL="411480" indent="0">
              <a:buNone/>
              <a:defRPr sz="1080"/>
            </a:lvl2pPr>
            <a:lvl3pPr marL="822960" indent="0">
              <a:buNone/>
              <a:defRPr sz="900"/>
            </a:lvl3pPr>
            <a:lvl4pPr marL="1234440" indent="0">
              <a:buNone/>
              <a:defRPr sz="810"/>
            </a:lvl4pPr>
            <a:lvl5pPr marL="1645920" indent="0">
              <a:buNone/>
              <a:defRPr sz="810"/>
            </a:lvl5pPr>
            <a:lvl6pPr marL="2057400" indent="0">
              <a:buNone/>
              <a:defRPr sz="810"/>
            </a:lvl6pPr>
            <a:lvl7pPr marL="2468880" indent="0">
              <a:buNone/>
              <a:defRPr sz="810"/>
            </a:lvl7pPr>
            <a:lvl8pPr marL="2880360" indent="0">
              <a:buNone/>
              <a:defRPr sz="810"/>
            </a:lvl8pPr>
            <a:lvl9pPr marL="3291840" indent="0">
              <a:buNone/>
              <a:defRPr sz="81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59173" y="5292214"/>
            <a:ext cx="373820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260" smtClean="0">
                <a:solidFill>
                  <a:srgbClr val="FFFFFF"/>
                </a:solidFill>
              </a:rPr>
              <a:pPr/>
              <a:t>‹Nº›</a:t>
            </a:fld>
            <a:endParaRPr lang="en-US" sz="126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7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1410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34" y="317343"/>
            <a:ext cx="4373533" cy="5062697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 userDrawn="1"/>
        </p:nvSpPr>
        <p:spPr>
          <a:xfrm>
            <a:off x="385670" y="317340"/>
            <a:ext cx="2959678" cy="91908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80000"/>
              </a:lnSpc>
            </a:pPr>
            <a:r>
              <a:rPr lang="en-US" sz="2340" dirty="0" smtClean="0">
                <a:solidFill>
                  <a:srgbClr val="7C0622"/>
                </a:solidFill>
                <a:latin typeface="Graphik Medium"/>
                <a:cs typeface="Graphik Medium"/>
              </a:rPr>
              <a:t>UChicago</a:t>
            </a:r>
            <a:r>
              <a:rPr lang="en-US" sz="2340" dirty="0" smtClean="0">
                <a:solidFill>
                  <a:srgbClr val="800000"/>
                </a:solidFill>
                <a:latin typeface="Graphik Medium"/>
                <a:cs typeface="Graphik Medium"/>
              </a:rPr>
              <a:t/>
            </a:r>
            <a:br>
              <a:rPr lang="en-US" sz="2340" dirty="0" smtClean="0">
                <a:solidFill>
                  <a:srgbClr val="800000"/>
                </a:solidFill>
                <a:latin typeface="Graphik Medium"/>
                <a:cs typeface="Graphik Medium"/>
              </a:rPr>
            </a:br>
            <a:r>
              <a:rPr lang="en-US" sz="2340" dirty="0" smtClean="0">
                <a:solidFill>
                  <a:prstClr val="white"/>
                </a:solidFill>
                <a:latin typeface="Graphik Medium"/>
                <a:cs typeface="Graphik Medium"/>
              </a:rPr>
              <a:t>Urban Labs</a:t>
            </a:r>
            <a:endParaRPr lang="en-US" sz="2340" dirty="0">
              <a:solidFill>
                <a:prstClr val="white"/>
              </a:solidFill>
              <a:latin typeface="Graphik Medium"/>
              <a:cs typeface="Graphik Medium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5670" y="2013480"/>
            <a:ext cx="7772400" cy="2516746"/>
          </a:xfrm>
          <a:prstGeom prst="rect">
            <a:avLst/>
          </a:prstGeom>
        </p:spPr>
        <p:txBody>
          <a:bodyPr/>
          <a:lstStyle>
            <a:lvl1pPr algn="l">
              <a:defRPr sz="3780">
                <a:solidFill>
                  <a:schemeClr val="bg1"/>
                </a:solidFill>
                <a:latin typeface="Graphik Extralight"/>
                <a:cs typeface="Graphik Extraligh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704798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Divider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78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853942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1">
    <p:bg>
      <p:bgPr>
        <a:solidFill>
          <a:srgbClr val="4140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78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1832491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600">
                <a:solidFill>
                  <a:schemeClr val="tx1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6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33212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Slid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072" y="235081"/>
            <a:ext cx="8229600" cy="524997"/>
          </a:xfrm>
          <a:prstGeom prst="rect">
            <a:avLst/>
          </a:prstGeom>
        </p:spPr>
        <p:txBody>
          <a:bodyPr/>
          <a:lstStyle>
            <a:lvl1pPr algn="l">
              <a:defRPr sz="2520"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931" y="1187582"/>
            <a:ext cx="8229600" cy="3917557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800">
                <a:latin typeface="Graphik Regular"/>
                <a:cs typeface="Graphik Regular"/>
              </a:defRPr>
            </a:lvl2pPr>
            <a:lvl3pPr>
              <a:defRPr sz="1620">
                <a:latin typeface="Graphik Regular"/>
                <a:cs typeface="Graphik Regular"/>
              </a:defRPr>
            </a:lvl3pPr>
            <a:lvl4pPr>
              <a:defRPr>
                <a:latin typeface="Graphik Regular"/>
                <a:cs typeface="Graphik Regular"/>
              </a:defRPr>
            </a:lvl4pPr>
            <a:lvl5pPr>
              <a:defRPr>
                <a:latin typeface="Graphik Regular"/>
                <a:cs typeface="Graphik Regular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6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9337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33501"/>
            <a:ext cx="4038600" cy="37756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33501"/>
            <a:ext cx="4038600" cy="37756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9B387B8-6DF1-479D-870E-17B698319D2A}" type="slidenum">
              <a:rPr lang="en-US" altLang="en-US">
                <a:solidFill>
                  <a:srgbClr val="CCCCFF"/>
                </a:solidFill>
              </a:rPr>
              <a:pPr/>
              <a:t>‹Nº›</a:t>
            </a:fld>
            <a:endParaRPr lang="en-US" altLang="en-US">
              <a:solidFill>
                <a:srgbClr val="CC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297666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Slid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620">
                <a:latin typeface="Graphik Regular"/>
                <a:cs typeface="Graphik Regular"/>
              </a:defRPr>
            </a:lvl2pPr>
            <a:lvl3pPr>
              <a:defRPr sz="1440">
                <a:latin typeface="Graphik Regular"/>
                <a:cs typeface="Graphik Regular"/>
              </a:defRPr>
            </a:lvl3pPr>
            <a:lvl4pPr>
              <a:defRPr sz="1620">
                <a:latin typeface="Graphik Regular"/>
                <a:cs typeface="Graphik Regular"/>
              </a:defRPr>
            </a:lvl4pPr>
            <a:lvl5pPr>
              <a:defRPr sz="1620">
                <a:latin typeface="Graphik Regular"/>
                <a:cs typeface="Graphik Regular"/>
              </a:defRPr>
            </a:lvl5pPr>
            <a:lvl6pPr>
              <a:defRPr sz="1620"/>
            </a:lvl6pPr>
            <a:lvl7pPr>
              <a:defRPr sz="1620"/>
            </a:lvl7pPr>
            <a:lvl8pPr>
              <a:defRPr sz="1620"/>
            </a:lvl8pPr>
            <a:lvl9pPr>
              <a:defRPr sz="162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620">
                <a:latin typeface="Graphik Regular"/>
                <a:cs typeface="Graphik Regular"/>
              </a:defRPr>
            </a:lvl2pPr>
            <a:lvl3pPr>
              <a:defRPr sz="1440">
                <a:latin typeface="Graphik Regular"/>
                <a:cs typeface="Graphik Regular"/>
              </a:defRPr>
            </a:lvl3pPr>
            <a:lvl4pPr>
              <a:defRPr sz="1620"/>
            </a:lvl4pPr>
            <a:lvl5pPr>
              <a:defRPr sz="1620"/>
            </a:lvl5pPr>
            <a:lvl6pPr>
              <a:defRPr sz="1620"/>
            </a:lvl6pPr>
            <a:lvl7pPr>
              <a:defRPr sz="1620"/>
            </a:lvl7pPr>
            <a:lvl8pPr>
              <a:defRPr sz="1620"/>
            </a:lvl8pPr>
            <a:lvl9pPr>
              <a:defRPr sz="162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368072" y="235079"/>
            <a:ext cx="8229600" cy="9525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Graphik Bold"/>
                <a:ea typeface="+mj-ea"/>
                <a:cs typeface="Graphik Bold"/>
              </a:defRPr>
            </a:lvl1pPr>
          </a:lstStyle>
          <a:p>
            <a:r>
              <a:rPr lang="en-US" sz="2520" dirty="0" smtClean="0">
                <a:solidFill>
                  <a:prstClr val="black"/>
                </a:solidFill>
              </a:rPr>
              <a:t>Click to edit Master title style</a:t>
            </a:r>
            <a:endParaRPr lang="en-US" sz="2520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6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812644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r>
              <a:rPr lang="en-US" sz="234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42900" y="2811995"/>
            <a:ext cx="8229600" cy="107817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6480">
                <a:solidFill>
                  <a:schemeClr val="bg1"/>
                </a:solidFill>
                <a:latin typeface="Graphik Semibold"/>
                <a:cs typeface="Graphik Semibold"/>
              </a:defRPr>
            </a:lvl1pPr>
          </a:lstStyle>
          <a:p>
            <a:pPr lvl="0"/>
            <a:r>
              <a:rPr lang="en-US" dirty="0" smtClean="0"/>
              <a:t>Click to edi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" y="465424"/>
            <a:ext cx="1707120" cy="1976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2640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No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2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57188" y="1261767"/>
            <a:ext cx="8329612" cy="464919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57188" y="1968316"/>
            <a:ext cx="8337550" cy="23296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6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6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79079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3" y="1"/>
            <a:ext cx="3859161" cy="5734846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  <p:sp>
        <p:nvSpPr>
          <p:cNvPr id="18" name="Title 1"/>
          <p:cNvSpPr txBox="1">
            <a:spLocks/>
          </p:cNvSpPr>
          <p:nvPr userDrawn="1"/>
        </p:nvSpPr>
        <p:spPr>
          <a:xfrm>
            <a:off x="4043548" y="371332"/>
            <a:ext cx="4643252" cy="492012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800000"/>
                </a:solidFill>
                <a:latin typeface="Graphik Bold"/>
                <a:ea typeface="+mj-ea"/>
                <a:cs typeface="Graphik Bold"/>
              </a:defRPr>
            </a:lvl1pPr>
          </a:lstStyle>
          <a:p>
            <a:r>
              <a:rPr lang="en-US" sz="2160" smtClean="0"/>
              <a:t>Study Insert:</a:t>
            </a:r>
            <a:endParaRPr lang="en-US" sz="2160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043548" y="1261767"/>
            <a:ext cx="4643252" cy="464919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43548" y="1968317"/>
            <a:ext cx="4651190" cy="345299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6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083174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Grap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2"/>
            <a:ext cx="3987814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267694" y="342727"/>
            <a:ext cx="4478019" cy="678433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43551" y="1151123"/>
            <a:ext cx="4734937" cy="2135147"/>
          </a:xfrm>
          <a:prstGeom prst="rect">
            <a:avLst/>
          </a:prstGeom>
        </p:spPr>
        <p:txBody>
          <a:bodyPr vert="horz"/>
          <a:lstStyle>
            <a:lvl1pPr marL="205740" indent="-205740">
              <a:spcBef>
                <a:spcPts val="0"/>
              </a:spcBef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martArt Placeholder 4"/>
          <p:cNvSpPr>
            <a:spLocks noGrp="1"/>
          </p:cNvSpPr>
          <p:nvPr>
            <p:ph type="dgm" sz="quarter" idx="14" hasCustomPrompt="1"/>
          </p:nvPr>
        </p:nvSpPr>
        <p:spPr>
          <a:xfrm>
            <a:off x="357188" y="1151127"/>
            <a:ext cx="3487448" cy="3900013"/>
          </a:xfrm>
          <a:prstGeom prst="rect">
            <a:avLst/>
          </a:prstGeom>
        </p:spPr>
        <p:txBody>
          <a:bodyPr vert="horz"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6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77982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_Slide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2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 baseline="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6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25036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3416157260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6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99204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4867297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r>
              <a:rPr lang="en-US" sz="234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1450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866"/>
            <a:ext cx="8229600" cy="9525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188" cy="53313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279261"/>
            <a:ext cx="4041775" cy="53313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6B16FF6-DAAE-4DC2-92F8-6462014FBA28}" type="slidenum">
              <a:rPr lang="en-US" altLang="en-US">
                <a:solidFill>
                  <a:srgbClr val="CCCCFF"/>
                </a:solidFill>
              </a:rPr>
              <a:pPr/>
              <a:t>‹Nº›</a:t>
            </a:fld>
            <a:endParaRPr lang="en-US" altLang="en-US">
              <a:solidFill>
                <a:srgbClr val="CC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759021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Footer+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-1"/>
            <a:ext cx="9144000" cy="4849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193162"/>
            <a:ext cx="5486400" cy="2270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60">
                <a:latin typeface="Graphik Regular"/>
                <a:cs typeface="Graphik Regular"/>
              </a:defRPr>
            </a:lvl1pPr>
            <a:lvl2pPr marL="411480" indent="0">
              <a:buNone/>
              <a:defRPr sz="1080"/>
            </a:lvl2pPr>
            <a:lvl3pPr marL="822960" indent="0">
              <a:buNone/>
              <a:defRPr sz="900"/>
            </a:lvl3pPr>
            <a:lvl4pPr marL="1234440" indent="0">
              <a:buNone/>
              <a:defRPr sz="810"/>
            </a:lvl4pPr>
            <a:lvl5pPr marL="1645920" indent="0">
              <a:buNone/>
              <a:defRPr sz="810"/>
            </a:lvl5pPr>
            <a:lvl6pPr marL="2057400" indent="0">
              <a:buNone/>
              <a:defRPr sz="810"/>
            </a:lvl6pPr>
            <a:lvl7pPr marL="2468880" indent="0">
              <a:buNone/>
              <a:defRPr sz="810"/>
            </a:lvl7pPr>
            <a:lvl8pPr marL="2880360" indent="0">
              <a:buNone/>
              <a:defRPr sz="810"/>
            </a:lvl8pPr>
            <a:lvl9pPr marL="3291840" indent="0">
              <a:buNone/>
              <a:defRPr sz="81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59173" y="5292214"/>
            <a:ext cx="373820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260" smtClean="0">
                <a:solidFill>
                  <a:srgbClr val="FFFFFF"/>
                </a:solidFill>
              </a:rPr>
              <a:pPr/>
              <a:t>‹Nº›</a:t>
            </a:fld>
            <a:endParaRPr lang="en-US" sz="126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6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58689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32" y="317341"/>
            <a:ext cx="4373533" cy="5062697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 userDrawn="1"/>
        </p:nvSpPr>
        <p:spPr>
          <a:xfrm>
            <a:off x="385670" y="317340"/>
            <a:ext cx="2959678" cy="91908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80000"/>
              </a:lnSpc>
            </a:pPr>
            <a:r>
              <a:rPr lang="en-US" sz="2600" dirty="0" smtClean="0">
                <a:solidFill>
                  <a:srgbClr val="7C0622"/>
                </a:solidFill>
                <a:latin typeface="Graphik Medium"/>
                <a:cs typeface="Graphik Medium"/>
              </a:rPr>
              <a:t>UChicago</a:t>
            </a:r>
            <a:r>
              <a:rPr lang="en-US" sz="2600" dirty="0" smtClean="0">
                <a:solidFill>
                  <a:srgbClr val="800000"/>
                </a:solidFill>
                <a:latin typeface="Graphik Medium"/>
                <a:cs typeface="Graphik Medium"/>
              </a:rPr>
              <a:t/>
            </a:r>
            <a:br>
              <a:rPr lang="en-US" sz="2600" dirty="0" smtClean="0">
                <a:solidFill>
                  <a:srgbClr val="800000"/>
                </a:solidFill>
                <a:latin typeface="Graphik Medium"/>
                <a:cs typeface="Graphik Medium"/>
              </a:rPr>
            </a:br>
            <a:r>
              <a:rPr lang="en-US" sz="2600" dirty="0" smtClean="0">
                <a:solidFill>
                  <a:prstClr val="white"/>
                </a:solidFill>
                <a:latin typeface="Graphik Medium"/>
                <a:cs typeface="Graphik Medium"/>
              </a:rPr>
              <a:t>Urban Labs</a:t>
            </a:r>
            <a:endParaRPr lang="en-US" sz="2600" dirty="0">
              <a:solidFill>
                <a:prstClr val="white"/>
              </a:solidFill>
              <a:latin typeface="Graphik Medium"/>
              <a:cs typeface="Graphik Medium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5670" y="2013480"/>
            <a:ext cx="7772400" cy="2516746"/>
          </a:xfrm>
          <a:prstGeom prst="rect">
            <a:avLst/>
          </a:prstGeom>
        </p:spPr>
        <p:txBody>
          <a:bodyPr/>
          <a:lstStyle>
            <a:lvl1pPr algn="l">
              <a:defRPr sz="4200">
                <a:solidFill>
                  <a:schemeClr val="bg1"/>
                </a:solidFill>
                <a:latin typeface="Graphik Extralight"/>
                <a:cs typeface="Graphik Extraligh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85671" y="5211427"/>
            <a:ext cx="1317990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fld id="{E674F770-3668-854B-85A5-5FA574A323A0}" type="datetime4">
              <a:rPr lang="en-US" sz="1400" smtClean="0">
                <a:solidFill>
                  <a:srgbClr val="FFFFFF"/>
                </a:solidFill>
                <a:latin typeface="Graphik Light"/>
                <a:cs typeface="Graphik Light"/>
              </a:rPr>
              <a:pPr>
                <a:lnSpc>
                  <a:spcPct val="90000"/>
                </a:lnSpc>
              </a:pPr>
              <a:t>June 28, 2016</a:t>
            </a:fld>
            <a:endParaRPr lang="en-US" sz="1400" dirty="0">
              <a:solidFill>
                <a:srgbClr val="FFFFFF"/>
              </a:solidFill>
              <a:latin typeface="Graphik Light"/>
              <a:cs typeface="Graphik Light"/>
            </a:endParaRPr>
          </a:p>
        </p:txBody>
      </p:sp>
    </p:spTree>
    <p:extLst>
      <p:ext uri="{BB962C8B-B14F-4D97-AF65-F5344CB8AC3E}">
        <p14:creationId xmlns:p14="http://schemas.microsoft.com/office/powerpoint/2010/main" val="374262824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Divider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420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0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799306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1"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420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0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92974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4000">
                <a:solidFill>
                  <a:schemeClr val="tx1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0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5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821092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Slid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072" y="235080"/>
            <a:ext cx="8229600" cy="524997"/>
          </a:xfrm>
          <a:prstGeom prst="rect">
            <a:avLst/>
          </a:prstGeom>
        </p:spPr>
        <p:txBody>
          <a:bodyPr/>
          <a:lstStyle>
            <a:lvl1pPr algn="l">
              <a:defRPr sz="2800"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931" y="1187581"/>
            <a:ext cx="8229600" cy="3917557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Graphik Regular"/>
                <a:cs typeface="Graphik Regular"/>
              </a:defRPr>
            </a:lvl1pPr>
            <a:lvl2pPr>
              <a:defRPr sz="2000">
                <a:latin typeface="Graphik Regular"/>
                <a:cs typeface="Graphik Regular"/>
              </a:defRPr>
            </a:lvl2pPr>
            <a:lvl3pPr>
              <a:defRPr sz="1800">
                <a:latin typeface="Graphik Regular"/>
                <a:cs typeface="Graphik Regular"/>
              </a:defRPr>
            </a:lvl3pPr>
            <a:lvl4pPr>
              <a:defRPr>
                <a:latin typeface="Graphik Regular"/>
                <a:cs typeface="Graphik Regular"/>
              </a:defRPr>
            </a:lvl4pPr>
            <a:lvl5pPr>
              <a:defRPr>
                <a:latin typeface="Graphik Regular"/>
                <a:cs typeface="Graphik Regular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5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65183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Slid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Graphik Regular"/>
                <a:cs typeface="Graphik Regular"/>
              </a:defRPr>
            </a:lvl1pPr>
            <a:lvl2pPr>
              <a:defRPr sz="1800">
                <a:latin typeface="Graphik Regular"/>
                <a:cs typeface="Graphik Regular"/>
              </a:defRPr>
            </a:lvl2pPr>
            <a:lvl3pPr>
              <a:defRPr sz="1600">
                <a:latin typeface="Graphik Regular"/>
                <a:cs typeface="Graphik Regular"/>
              </a:defRPr>
            </a:lvl3pPr>
            <a:lvl4pPr>
              <a:defRPr sz="1800">
                <a:latin typeface="Graphik Regular"/>
                <a:cs typeface="Graphik Regular"/>
              </a:defRPr>
            </a:lvl4pPr>
            <a:lvl5pPr>
              <a:defRPr sz="1800">
                <a:latin typeface="Graphik Regular"/>
                <a:cs typeface="Graphik Regular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Graphik Regular"/>
                <a:cs typeface="Graphik Regular"/>
              </a:defRPr>
            </a:lvl1pPr>
            <a:lvl2pPr>
              <a:defRPr sz="1800">
                <a:latin typeface="Graphik Regular"/>
                <a:cs typeface="Graphik Regular"/>
              </a:defRPr>
            </a:lvl2pPr>
            <a:lvl3pPr>
              <a:defRPr sz="1600">
                <a:latin typeface="Graphik Regular"/>
                <a:cs typeface="Graphik Regular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368072" y="235079"/>
            <a:ext cx="8229600" cy="9525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Graphik Bold"/>
                <a:ea typeface="+mj-ea"/>
                <a:cs typeface="Graphik Bold"/>
              </a:defRPr>
            </a:lvl1pPr>
          </a:lstStyle>
          <a:p>
            <a:r>
              <a:rPr lang="en-US" sz="2800" dirty="0" smtClean="0">
                <a:solidFill>
                  <a:prstClr val="black"/>
                </a:solidFill>
              </a:rPr>
              <a:t>Click to edit Master title style</a:t>
            </a:r>
            <a:endParaRPr lang="en-US" sz="2800" dirty="0">
              <a:solidFill>
                <a:prstClr val="black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5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85233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z="260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42900" y="2811995"/>
            <a:ext cx="8229600" cy="107817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200">
                <a:solidFill>
                  <a:schemeClr val="bg1"/>
                </a:solidFill>
                <a:latin typeface="Graphik Semibold"/>
                <a:cs typeface="Graphik Semibold"/>
              </a:defRPr>
            </a:lvl1pPr>
          </a:lstStyle>
          <a:p>
            <a:pPr lvl="0"/>
            <a:r>
              <a:rPr lang="en-US" dirty="0" smtClean="0"/>
              <a:t>Click to edi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" y="465423"/>
            <a:ext cx="1707120" cy="1976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22177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No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1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40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0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57188" y="1261765"/>
            <a:ext cx="8329612" cy="464919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57200" indent="0">
              <a:buFontTx/>
              <a:buNone/>
              <a:defRPr sz="1800">
                <a:latin typeface="Graphik Regular"/>
                <a:cs typeface="Graphik Regular"/>
              </a:defRPr>
            </a:lvl2pPr>
            <a:lvl3pPr marL="914400" indent="0">
              <a:buNone/>
              <a:defRPr sz="1800">
                <a:latin typeface="Graphik Regular"/>
                <a:cs typeface="Graphik Regular"/>
              </a:defRPr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57188" y="1968316"/>
            <a:ext cx="8337550" cy="23296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742950" indent="-285750">
              <a:buFont typeface="Arial"/>
              <a:buChar char="•"/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5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357380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0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3859161" cy="5734846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  <p:sp>
        <p:nvSpPr>
          <p:cNvPr id="18" name="Title 1"/>
          <p:cNvSpPr txBox="1">
            <a:spLocks/>
          </p:cNvSpPr>
          <p:nvPr userDrawn="1"/>
        </p:nvSpPr>
        <p:spPr>
          <a:xfrm>
            <a:off x="4043548" y="371331"/>
            <a:ext cx="4643252" cy="492012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800000"/>
                </a:solidFill>
                <a:latin typeface="Graphik Bold"/>
                <a:ea typeface="+mj-ea"/>
                <a:cs typeface="Graphik Bold"/>
              </a:defRPr>
            </a:lvl1pPr>
          </a:lstStyle>
          <a:p>
            <a:r>
              <a:rPr lang="en-US" smtClean="0"/>
              <a:t>Study Insert: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043548" y="1261765"/>
            <a:ext cx="4643252" cy="464919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57200" indent="0">
              <a:buFontTx/>
              <a:buNone/>
              <a:defRPr sz="1800">
                <a:latin typeface="Graphik Regular"/>
                <a:cs typeface="Graphik Regular"/>
              </a:defRPr>
            </a:lvl2pPr>
            <a:lvl3pPr marL="914400" indent="0">
              <a:buNone/>
              <a:defRPr sz="1800">
                <a:latin typeface="Graphik Regular"/>
                <a:cs typeface="Graphik Regular"/>
              </a:defRPr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43548" y="1968316"/>
            <a:ext cx="4651190" cy="345299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742950" indent="-285750">
              <a:buFont typeface="Arial"/>
              <a:buChar char="•"/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840073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45D2E7F-2321-47CD-B1C0-1F88E629D7D4}" type="slidenum">
              <a:rPr lang="en-US" altLang="en-US">
                <a:solidFill>
                  <a:srgbClr val="CCCCFF"/>
                </a:solidFill>
              </a:rPr>
              <a:pPr/>
              <a:t>‹Nº›</a:t>
            </a:fld>
            <a:endParaRPr lang="en-US" altLang="en-US">
              <a:solidFill>
                <a:srgbClr val="CC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3624524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Grap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1"/>
            <a:ext cx="3987814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40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0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267692" y="342725"/>
            <a:ext cx="4478019" cy="678433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57200" indent="0">
              <a:buFontTx/>
              <a:buNone/>
              <a:defRPr sz="1800">
                <a:latin typeface="Graphik Regular"/>
                <a:cs typeface="Graphik Regular"/>
              </a:defRPr>
            </a:lvl2pPr>
            <a:lvl3pPr marL="914400" indent="0">
              <a:buNone/>
              <a:defRPr sz="1800">
                <a:latin typeface="Graphik Regular"/>
                <a:cs typeface="Graphik Regular"/>
              </a:defRPr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43549" y="1151123"/>
            <a:ext cx="4734937" cy="2135147"/>
          </a:xfrm>
          <a:prstGeom prst="rect">
            <a:avLst/>
          </a:prstGeom>
        </p:spPr>
        <p:txBody>
          <a:bodyPr vert="horz"/>
          <a:lstStyle>
            <a:lvl1pPr marL="228600" indent="-228600">
              <a:spcBef>
                <a:spcPts val="0"/>
              </a:spcBef>
              <a:buFont typeface="Arial"/>
              <a:buChar char="•"/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742950" indent="-285750">
              <a:buFont typeface="Arial"/>
              <a:buChar char="•"/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martArt Placeholder 4"/>
          <p:cNvSpPr>
            <a:spLocks noGrp="1"/>
          </p:cNvSpPr>
          <p:nvPr>
            <p:ph type="dgm" sz="quarter" idx="14" hasCustomPrompt="1"/>
          </p:nvPr>
        </p:nvSpPr>
        <p:spPr>
          <a:xfrm>
            <a:off x="357188" y="1151125"/>
            <a:ext cx="3487448" cy="3900013"/>
          </a:xfrm>
          <a:prstGeom prst="rect">
            <a:avLst/>
          </a:prstGeom>
        </p:spPr>
        <p:txBody>
          <a:bodyPr vert="horz"/>
          <a:lstStyle/>
          <a:p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5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06094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_Slide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1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400" baseline="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0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5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32288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359174" y="5264316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10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762210847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5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92501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104240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z="260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0082885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Footer+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-1"/>
            <a:ext cx="9144000" cy="4849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193160"/>
            <a:ext cx="5486400" cy="2270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Graphik Regular"/>
                <a:cs typeface="Graphik Regular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59174" y="5292215"/>
            <a:ext cx="3962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400" smtClean="0">
                <a:solidFill>
                  <a:srgbClr val="FFFFFF"/>
                </a:solidFill>
              </a:rPr>
              <a:pPr/>
              <a:t>‹Nº›</a:t>
            </a:fld>
            <a:endParaRPr lang="en-US" sz="1400" dirty="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5147" y="5017705"/>
            <a:ext cx="349536" cy="40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30156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775355"/>
            <a:ext cx="7772400" cy="122502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48C33-847F-42F5-8E6D-635742C49D9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CCDF7-5247-4C71-8D68-77AED846057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332084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48C33-847F-42F5-8E6D-635742C49D9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CCDF7-5247-4C71-8D68-77AED846057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34015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672417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48C33-847F-42F5-8E6D-635742C49D9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CCDF7-5247-4C71-8D68-77AED846057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17605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690383A-5167-4B57-8E22-7AC1884A4D4C}" type="slidenum">
              <a:rPr lang="en-US" altLang="en-US">
                <a:solidFill>
                  <a:srgbClr val="CCCCFF"/>
                </a:solidFill>
              </a:rPr>
              <a:pPr/>
              <a:t>‹Nº›</a:t>
            </a:fld>
            <a:endParaRPr lang="en-US" altLang="en-US">
              <a:solidFill>
                <a:srgbClr val="CC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439873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48C33-847F-42F5-8E6D-635742C49D9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CCDF7-5247-4C71-8D68-77AED846057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891111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188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279261"/>
            <a:ext cx="4041775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48C33-847F-42F5-8E6D-635742C49D9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CCDF7-5247-4C71-8D68-77AED846057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460939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48C33-847F-42F5-8E6D-635742C49D9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CCDF7-5247-4C71-8D68-77AED846057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00642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48C33-847F-42F5-8E6D-635742C49D9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CCDF7-5247-4C71-8D68-77AED846057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869089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7542"/>
            <a:ext cx="3008313" cy="9683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195917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48C33-847F-42F5-8E6D-635742C49D9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CCDF7-5247-4C71-8D68-77AED846057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60160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48C33-847F-42F5-8E6D-635742C49D9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CCDF7-5247-4C71-8D68-77AED846057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176508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48C33-847F-42F5-8E6D-635742C49D9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CCDF7-5247-4C71-8D68-77AED846057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982090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28865"/>
            <a:ext cx="2057400" cy="4876271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28865"/>
            <a:ext cx="6019800" cy="487627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48C33-847F-42F5-8E6D-635742C49D9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CCDF7-5247-4C71-8D68-77AED846057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6703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27541"/>
            <a:ext cx="3008313" cy="96837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27545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195920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D25819E-F745-43E6-BA80-DAD99A42E69C}" type="slidenum">
              <a:rPr lang="en-US" altLang="en-US">
                <a:solidFill>
                  <a:srgbClr val="CCCCFF"/>
                </a:solidFill>
              </a:rPr>
              <a:pPr/>
              <a:t>‹Nº›</a:t>
            </a:fld>
            <a:endParaRPr lang="en-US" altLang="en-US">
              <a:solidFill>
                <a:srgbClr val="CC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5240478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000580"/>
            <a:ext cx="5486400" cy="47228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472873"/>
            <a:ext cx="5486400" cy="6707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49E2B03-180C-416E-B898-DA44EF11FEC0}" type="slidenum">
              <a:rPr lang="en-US" altLang="en-US">
                <a:solidFill>
                  <a:srgbClr val="CCCCFF"/>
                </a:solidFill>
              </a:rPr>
              <a:pPr/>
              <a:t>‹Nº›</a:t>
            </a:fld>
            <a:endParaRPr lang="en-US" altLang="en-US">
              <a:solidFill>
                <a:srgbClr val="CC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726656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6FEDCE-B077-4406-A330-31334C5F204D}" type="slidenum">
              <a:rPr lang="en-US" altLang="en-US">
                <a:solidFill>
                  <a:srgbClr val="CCCCFF"/>
                </a:solidFill>
              </a:rPr>
              <a:pPr/>
              <a:t>‹Nº›</a:t>
            </a:fld>
            <a:endParaRPr lang="en-US" altLang="en-US">
              <a:solidFill>
                <a:srgbClr val="CC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622201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31519"/>
            <a:ext cx="2057400" cy="487759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31519"/>
            <a:ext cx="6019800" cy="487759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603A99A-773D-4BE7-8B19-A50DA8C3D08C}" type="slidenum">
              <a:rPr lang="en-US" altLang="en-US">
                <a:solidFill>
                  <a:srgbClr val="CCCCFF"/>
                </a:solidFill>
              </a:rPr>
              <a:pPr/>
              <a:t>‹Nº›</a:t>
            </a:fld>
            <a:endParaRPr lang="en-US" altLang="en-US">
              <a:solidFill>
                <a:srgbClr val="CC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467067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31516"/>
            <a:ext cx="8229600" cy="94985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333501"/>
            <a:ext cx="4038600" cy="37756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33501"/>
            <a:ext cx="4038600" cy="37756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5203033"/>
            <a:ext cx="2133600" cy="381000"/>
          </a:xfrm>
        </p:spPr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5207000"/>
            <a:ext cx="2895600" cy="381000"/>
          </a:xfrm>
        </p:spPr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5203033"/>
            <a:ext cx="2133600" cy="381000"/>
          </a:xfrm>
        </p:spPr>
        <p:txBody>
          <a:bodyPr/>
          <a:lstStyle>
            <a:lvl1pPr>
              <a:defRPr/>
            </a:lvl1pPr>
          </a:lstStyle>
          <a:p>
            <a:fld id="{EA0CB1A4-7235-49DF-A70D-696569BE2D35}" type="slidenum">
              <a:rPr lang="en-US" altLang="en-US">
                <a:solidFill>
                  <a:srgbClr val="CCCCFF"/>
                </a:solidFill>
              </a:rPr>
              <a:pPr/>
              <a:t>‹Nº›</a:t>
            </a:fld>
            <a:endParaRPr lang="en-US" altLang="en-US">
              <a:solidFill>
                <a:srgbClr val="CC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7555983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1"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420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t>6/28/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7211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31519"/>
            <a:ext cx="8229600" cy="487759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5203033"/>
            <a:ext cx="2133600" cy="381000"/>
          </a:xfrm>
        </p:spPr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5207000"/>
            <a:ext cx="2895600" cy="381000"/>
          </a:xfrm>
        </p:spPr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5203033"/>
            <a:ext cx="2133600" cy="381000"/>
          </a:xfrm>
        </p:spPr>
        <p:txBody>
          <a:bodyPr/>
          <a:lstStyle>
            <a:lvl1pPr>
              <a:defRPr/>
            </a:lvl1pPr>
          </a:lstStyle>
          <a:p>
            <a:fld id="{18E8733B-5451-4888-A9B5-EC0D1A7E6046}" type="slidenum">
              <a:rPr lang="en-US" altLang="en-US">
                <a:solidFill>
                  <a:srgbClr val="CCCCFF"/>
                </a:solidFill>
              </a:rPr>
              <a:pPr/>
              <a:t>‹Nº›</a:t>
            </a:fld>
            <a:endParaRPr lang="en-US" altLang="en-US">
              <a:solidFill>
                <a:srgbClr val="CC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0317000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>
          <a:xfrm>
            <a:off x="385670" y="317340"/>
            <a:ext cx="2959678" cy="91908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80000"/>
              </a:lnSpc>
            </a:pPr>
            <a:r>
              <a:rPr lang="en-US" sz="2340" dirty="0" smtClean="0">
                <a:solidFill>
                  <a:srgbClr val="7C0622"/>
                </a:solidFill>
                <a:latin typeface="Graphik Medium"/>
                <a:cs typeface="Graphik Medium"/>
              </a:rPr>
              <a:t>UChicago</a:t>
            </a:r>
            <a:r>
              <a:rPr lang="en-US" sz="2340" dirty="0" smtClean="0">
                <a:solidFill>
                  <a:srgbClr val="800000"/>
                </a:solidFill>
                <a:latin typeface="Graphik Medium"/>
                <a:cs typeface="Graphik Medium"/>
              </a:rPr>
              <a:t/>
            </a:r>
            <a:br>
              <a:rPr lang="en-US" sz="2340" dirty="0" smtClean="0">
                <a:solidFill>
                  <a:srgbClr val="800000"/>
                </a:solidFill>
                <a:latin typeface="Graphik Medium"/>
                <a:cs typeface="Graphik Medium"/>
              </a:rPr>
            </a:br>
            <a:r>
              <a:rPr lang="en-US" sz="2340" dirty="0" smtClean="0">
                <a:solidFill>
                  <a:prstClr val="white"/>
                </a:solidFill>
                <a:latin typeface="Graphik Medium"/>
                <a:cs typeface="Graphik Medium"/>
              </a:rPr>
              <a:t>Urban Labs</a:t>
            </a:r>
            <a:endParaRPr lang="en-US" sz="2340" dirty="0">
              <a:solidFill>
                <a:prstClr val="white"/>
              </a:solidFill>
              <a:latin typeface="Graphik Medium"/>
              <a:cs typeface="Graphik Medium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5670" y="2013480"/>
            <a:ext cx="7772400" cy="2516746"/>
          </a:xfrm>
          <a:prstGeom prst="rect">
            <a:avLst/>
          </a:prstGeom>
        </p:spPr>
        <p:txBody>
          <a:bodyPr/>
          <a:lstStyle>
            <a:lvl1pPr algn="l">
              <a:defRPr sz="3780">
                <a:solidFill>
                  <a:schemeClr val="bg1"/>
                </a:solidFill>
                <a:latin typeface="Graphik Extralight"/>
                <a:cs typeface="Graphik Extraligh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2135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Divider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78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114510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1">
    <p:bg>
      <p:bgPr>
        <a:solidFill>
          <a:srgbClr val="4140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78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325338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600">
                <a:solidFill>
                  <a:schemeClr val="tx1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4175851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Slid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072" y="235135"/>
            <a:ext cx="8229600" cy="524997"/>
          </a:xfrm>
          <a:prstGeom prst="rect">
            <a:avLst/>
          </a:prstGeom>
        </p:spPr>
        <p:txBody>
          <a:bodyPr/>
          <a:lstStyle>
            <a:lvl1pPr algn="l">
              <a:defRPr sz="2520"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931" y="1187615"/>
            <a:ext cx="8229600" cy="3917557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800">
                <a:latin typeface="Graphik Regular"/>
                <a:cs typeface="Graphik Regular"/>
              </a:defRPr>
            </a:lvl2pPr>
            <a:lvl3pPr>
              <a:defRPr sz="1620">
                <a:latin typeface="Graphik Regular"/>
                <a:cs typeface="Graphik Regular"/>
              </a:defRPr>
            </a:lvl3pPr>
            <a:lvl4pPr>
              <a:defRPr>
                <a:latin typeface="Graphik Regular"/>
                <a:cs typeface="Graphik Regular"/>
              </a:defRPr>
            </a:lvl4pPr>
            <a:lvl5pPr>
              <a:defRPr>
                <a:latin typeface="Graphik Regular"/>
                <a:cs typeface="Graphik Regular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2738070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Slid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620">
                <a:latin typeface="Graphik Regular"/>
                <a:cs typeface="Graphik Regular"/>
              </a:defRPr>
            </a:lvl2pPr>
            <a:lvl3pPr>
              <a:defRPr sz="1440">
                <a:latin typeface="Graphik Regular"/>
                <a:cs typeface="Graphik Regular"/>
              </a:defRPr>
            </a:lvl3pPr>
            <a:lvl4pPr>
              <a:defRPr sz="1620">
                <a:latin typeface="Graphik Regular"/>
                <a:cs typeface="Graphik Regular"/>
              </a:defRPr>
            </a:lvl4pPr>
            <a:lvl5pPr>
              <a:defRPr sz="1620">
                <a:latin typeface="Graphik Regular"/>
                <a:cs typeface="Graphik Regular"/>
              </a:defRPr>
            </a:lvl5pPr>
            <a:lvl6pPr>
              <a:defRPr sz="1620"/>
            </a:lvl6pPr>
            <a:lvl7pPr>
              <a:defRPr sz="1620"/>
            </a:lvl7pPr>
            <a:lvl8pPr>
              <a:defRPr sz="1620"/>
            </a:lvl8pPr>
            <a:lvl9pPr>
              <a:defRPr sz="162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160">
                <a:latin typeface="Graphik Regular"/>
                <a:cs typeface="Graphik Regular"/>
              </a:defRPr>
            </a:lvl1pPr>
            <a:lvl2pPr>
              <a:defRPr sz="1620">
                <a:latin typeface="Graphik Regular"/>
                <a:cs typeface="Graphik Regular"/>
              </a:defRPr>
            </a:lvl2pPr>
            <a:lvl3pPr>
              <a:defRPr sz="1440">
                <a:latin typeface="Graphik Regular"/>
                <a:cs typeface="Graphik Regular"/>
              </a:defRPr>
            </a:lvl3pPr>
            <a:lvl4pPr>
              <a:defRPr sz="1620"/>
            </a:lvl4pPr>
            <a:lvl5pPr>
              <a:defRPr sz="1620"/>
            </a:lvl5pPr>
            <a:lvl6pPr>
              <a:defRPr sz="1620"/>
            </a:lvl6pPr>
            <a:lvl7pPr>
              <a:defRPr sz="1620"/>
            </a:lvl7pPr>
            <a:lvl8pPr>
              <a:defRPr sz="1620"/>
            </a:lvl8pPr>
            <a:lvl9pPr>
              <a:defRPr sz="162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368072" y="235079"/>
            <a:ext cx="8229600" cy="9525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Graphik Bold"/>
                <a:ea typeface="+mj-ea"/>
                <a:cs typeface="Graphik Bold"/>
              </a:defRPr>
            </a:lvl1pPr>
          </a:lstStyle>
          <a:p>
            <a:r>
              <a:rPr lang="en-US" sz="2520" dirty="0" smtClean="0">
                <a:solidFill>
                  <a:prstClr val="black"/>
                </a:solidFill>
              </a:rPr>
              <a:t>Click to edit Master title style</a:t>
            </a:r>
            <a:endParaRPr lang="en-US" sz="2520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4109091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r>
              <a:rPr lang="en-US" sz="234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42900" y="2811995"/>
            <a:ext cx="8229600" cy="107817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6480">
                <a:solidFill>
                  <a:schemeClr val="bg1"/>
                </a:solidFill>
                <a:latin typeface="Graphik Semibold"/>
                <a:cs typeface="Graphik Semibold"/>
              </a:defRPr>
            </a:lvl1pPr>
          </a:lstStyle>
          <a:p>
            <a:pPr lvl="0"/>
            <a:r>
              <a:rPr lang="en-US" dirty="0" smtClean="0"/>
              <a:t>Click to edi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" y="465429"/>
            <a:ext cx="1707120" cy="1976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897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No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57188" y="1261810"/>
            <a:ext cx="8329612" cy="464919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57188" y="1968316"/>
            <a:ext cx="8337550" cy="23296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6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3480378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17" y="1"/>
            <a:ext cx="3859161" cy="5734846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  <p:sp>
        <p:nvSpPr>
          <p:cNvPr id="18" name="Title 1"/>
          <p:cNvSpPr txBox="1">
            <a:spLocks/>
          </p:cNvSpPr>
          <p:nvPr userDrawn="1"/>
        </p:nvSpPr>
        <p:spPr>
          <a:xfrm>
            <a:off x="4043548" y="371335"/>
            <a:ext cx="4643252" cy="492012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800000"/>
                </a:solidFill>
                <a:latin typeface="Graphik Bold"/>
                <a:ea typeface="+mj-ea"/>
                <a:cs typeface="Graphik Bold"/>
              </a:defRPr>
            </a:lvl1pPr>
          </a:lstStyle>
          <a:p>
            <a:r>
              <a:rPr lang="en-US" sz="2160" smtClean="0"/>
              <a:t>Study Insert:</a:t>
            </a:r>
            <a:endParaRPr lang="en-US" sz="2160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043548" y="1261810"/>
            <a:ext cx="4643252" cy="464919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43548" y="1968345"/>
            <a:ext cx="4651190" cy="345299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6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62737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4000">
                <a:solidFill>
                  <a:schemeClr val="tx1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t>6/28/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451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Grap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3987814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267709" y="342729"/>
            <a:ext cx="4478019" cy="678433"/>
          </a:xfrm>
          <a:prstGeom prst="rect">
            <a:avLst/>
          </a:prstGeom>
        </p:spPr>
        <p:txBody>
          <a:bodyPr vert="horz"/>
          <a:lstStyle>
            <a:lvl1pPr marL="0" marR="0" indent="0" algn="l" defTabSz="4114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6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11480" indent="0">
              <a:buFontTx/>
              <a:buNone/>
              <a:defRPr sz="1620">
                <a:latin typeface="Graphik Regular"/>
                <a:cs typeface="Graphik Regular"/>
              </a:defRPr>
            </a:lvl2pPr>
            <a:lvl3pPr marL="822960" indent="0">
              <a:buNone/>
              <a:defRPr sz="1620">
                <a:latin typeface="Graphik Regular"/>
                <a:cs typeface="Graphik Regular"/>
              </a:defRPr>
            </a:lvl3pPr>
            <a:lvl4pPr marL="123444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43565" y="1151123"/>
            <a:ext cx="4734937" cy="2135147"/>
          </a:xfrm>
          <a:prstGeom prst="rect">
            <a:avLst/>
          </a:prstGeom>
        </p:spPr>
        <p:txBody>
          <a:bodyPr vert="horz"/>
          <a:lstStyle>
            <a:lvl1pPr marL="205740" indent="-205740">
              <a:spcBef>
                <a:spcPts val="0"/>
              </a:spcBef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668655" indent="-257175">
              <a:buFont typeface="Arial"/>
              <a:buChar char="•"/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62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martArt Placeholder 4"/>
          <p:cNvSpPr>
            <a:spLocks noGrp="1"/>
          </p:cNvSpPr>
          <p:nvPr>
            <p:ph type="dgm" sz="quarter" idx="14" hasCustomPrompt="1"/>
          </p:nvPr>
        </p:nvSpPr>
        <p:spPr>
          <a:xfrm>
            <a:off x="357188" y="1151129"/>
            <a:ext cx="3487448" cy="3900013"/>
          </a:xfrm>
          <a:prstGeom prst="rect">
            <a:avLst/>
          </a:prstGeom>
        </p:spPr>
        <p:txBody>
          <a:bodyPr vert="horz"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3867874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_Slide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160" baseline="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3650709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47980" y="5017705"/>
            <a:ext cx="353136" cy="40878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3678489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3047289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5696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r>
              <a:rPr lang="en-US" sz="234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7488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Footer+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-1"/>
            <a:ext cx="9144000" cy="4849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193243"/>
            <a:ext cx="5486400" cy="2270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60">
                <a:latin typeface="Graphik Regular"/>
                <a:cs typeface="Graphik Regular"/>
              </a:defRPr>
            </a:lvl1pPr>
            <a:lvl2pPr marL="411480" indent="0">
              <a:buNone/>
              <a:defRPr sz="1080"/>
            </a:lvl2pPr>
            <a:lvl3pPr marL="822960" indent="0">
              <a:buNone/>
              <a:defRPr sz="900"/>
            </a:lvl3pPr>
            <a:lvl4pPr marL="1234440" indent="0">
              <a:buNone/>
              <a:defRPr sz="810"/>
            </a:lvl4pPr>
            <a:lvl5pPr marL="1645920" indent="0">
              <a:buNone/>
              <a:defRPr sz="810"/>
            </a:lvl5pPr>
            <a:lvl6pPr marL="2057400" indent="0">
              <a:buNone/>
              <a:defRPr sz="810"/>
            </a:lvl6pPr>
            <a:lvl7pPr marL="2468880" indent="0">
              <a:buNone/>
              <a:defRPr sz="810"/>
            </a:lvl7pPr>
            <a:lvl8pPr marL="2880360" indent="0">
              <a:buNone/>
              <a:defRPr sz="810"/>
            </a:lvl8pPr>
            <a:lvl9pPr marL="3291840" indent="0">
              <a:buNone/>
              <a:defRPr sz="81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59173" y="5292214"/>
            <a:ext cx="373820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260" smtClean="0">
                <a:solidFill>
                  <a:srgbClr val="FFFFFF"/>
                </a:solidFill>
              </a:rPr>
              <a:pPr/>
              <a:t>‹Nº›</a:t>
            </a:fld>
            <a:endParaRPr lang="en-US" sz="126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359173" y="5264314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900" smtClean="0">
                <a:solidFill>
                  <a:prstClr val="black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900" dirty="0">
              <a:solidFill>
                <a:prstClr val="black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1078733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>
          <a:xfrm>
            <a:off x="385670" y="317340"/>
            <a:ext cx="2959678" cy="91908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80000"/>
              </a:lnSpc>
            </a:pPr>
            <a:r>
              <a:rPr lang="en-US" sz="1950" dirty="0" smtClean="0">
                <a:solidFill>
                  <a:srgbClr val="7C062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Chicago</a:t>
            </a:r>
            <a:r>
              <a:rPr lang="en-US" sz="1950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sz="1950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1950" dirty="0" smtClean="0">
                <a:solidFill>
                  <a:prstClr val="white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rban Labs</a:t>
            </a:r>
            <a:endParaRPr lang="en-US" sz="1950" dirty="0">
              <a:solidFill>
                <a:prstClr val="white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5670" y="2013489"/>
            <a:ext cx="7772400" cy="2516746"/>
          </a:xfrm>
          <a:prstGeom prst="rect">
            <a:avLst/>
          </a:prstGeom>
        </p:spPr>
        <p:txBody>
          <a:bodyPr/>
          <a:lstStyle>
            <a:lvl1pPr algn="l">
              <a:defRPr sz="315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85675" y="5145976"/>
            <a:ext cx="1040670" cy="2377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fld id="{5E39406D-D94F-A44D-A63B-B31AC2027295}" type="datetime4">
              <a:rPr lang="en-US" sz="1050" smtClean="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>
                <a:lnSpc>
                  <a:spcPct val="90000"/>
                </a:lnSpc>
              </a:pPr>
              <a:t>June 28, 2016</a:t>
            </a:fld>
            <a:endParaRPr lang="en-US" sz="1050" dirty="0">
              <a:solidFill>
                <a:srgbClr val="FFFFFF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199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Divider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15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1" y="5338724"/>
            <a:ext cx="30168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750" smtClean="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/>
              <a:t>‹Nº›</a:t>
            </a:fld>
            <a:endParaRPr lang="en-US" sz="750" dirty="0">
              <a:solidFill>
                <a:srgbClr val="FFFFFF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9377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1"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15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59171" y="5338724"/>
            <a:ext cx="30168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750" smtClean="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/>
              <a:t>‹Nº›</a:t>
            </a:fld>
            <a:endParaRPr lang="en-US" sz="750" dirty="0">
              <a:solidFill>
                <a:srgbClr val="FFFFFF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1871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Slid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072" y="235135"/>
            <a:ext cx="8229600" cy="524997"/>
          </a:xfrm>
          <a:prstGeom prst="rect">
            <a:avLst/>
          </a:prstGeom>
        </p:spPr>
        <p:txBody>
          <a:bodyPr/>
          <a:lstStyle>
            <a:lvl1pPr algn="l">
              <a:defRPr sz="2800"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931" y="1187615"/>
            <a:ext cx="8229600" cy="3917557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Graphik Regular"/>
                <a:cs typeface="Graphik Regular"/>
              </a:defRPr>
            </a:lvl1pPr>
            <a:lvl2pPr>
              <a:defRPr sz="2000">
                <a:latin typeface="Graphik Regular"/>
                <a:cs typeface="Graphik Regular"/>
              </a:defRPr>
            </a:lvl2pPr>
            <a:lvl3pPr>
              <a:defRPr sz="1800">
                <a:latin typeface="Graphik Regular"/>
                <a:cs typeface="Graphik Regular"/>
              </a:defRPr>
            </a:lvl3pPr>
            <a:lvl4pPr>
              <a:defRPr>
                <a:latin typeface="Graphik Regular"/>
                <a:cs typeface="Graphik Regular"/>
              </a:defRPr>
            </a:lvl4pPr>
            <a:lvl5pPr>
              <a:defRPr>
                <a:latin typeface="Graphik Regular"/>
                <a:cs typeface="Graphik Regular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29864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00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359171" y="5338724"/>
            <a:ext cx="30168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750" smtClean="0">
                <a:solidFill>
                  <a:srgbClr val="191918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/>
              <a:t>‹Nº›</a:t>
            </a:fld>
            <a:endParaRPr lang="en-US" sz="750" dirty="0">
              <a:solidFill>
                <a:srgbClr val="191918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3848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Slid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072" y="235135"/>
            <a:ext cx="8229600" cy="524997"/>
          </a:xfrm>
          <a:prstGeom prst="rect">
            <a:avLst/>
          </a:prstGeom>
        </p:spPr>
        <p:txBody>
          <a:bodyPr/>
          <a:lstStyle>
            <a:lvl1pPr algn="l">
              <a:defRPr sz="2100"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931" y="1187615"/>
            <a:ext cx="8229600" cy="3917557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 sz="1500"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 sz="1350"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Graphik Regular"/>
                <a:cs typeface="Graphik Regular"/>
              </a:defRPr>
            </a:lvl4pPr>
            <a:lvl5pPr>
              <a:defRPr>
                <a:latin typeface="Graphik Regular"/>
                <a:cs typeface="Graphik Regular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59171" y="5338724"/>
            <a:ext cx="30168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750" smtClean="0">
                <a:solidFill>
                  <a:srgbClr val="191918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/>
              <a:t>‹Nº›</a:t>
            </a:fld>
            <a:endParaRPr lang="en-US" sz="750" dirty="0">
              <a:solidFill>
                <a:srgbClr val="191918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0832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Slid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 sz="1350"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 sz="1200"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 sz="1350">
                <a:latin typeface="Graphik Regular"/>
                <a:cs typeface="Graphik Regular"/>
              </a:defRPr>
            </a:lvl4pPr>
            <a:lvl5pPr>
              <a:defRPr sz="1350">
                <a:latin typeface="Graphik Regular"/>
                <a:cs typeface="Graphik Regular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 sz="1350"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 sz="1200"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368072" y="235079"/>
            <a:ext cx="8229600" cy="9525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Graphik Bold"/>
                <a:ea typeface="+mj-ea"/>
                <a:cs typeface="Graphik Bold"/>
              </a:defRPr>
            </a:lvl1pPr>
          </a:lstStyle>
          <a:p>
            <a:r>
              <a:rPr lang="en-US" sz="2100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lick to edit Master title style</a:t>
            </a:r>
            <a:endParaRPr lang="en-US" sz="2100" dirty="0">
              <a:solidFill>
                <a:prstClr val="black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1" y="5338724"/>
            <a:ext cx="30168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750" smtClean="0">
                <a:solidFill>
                  <a:srgbClr val="191918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/>
              <a:t>‹Nº›</a:t>
            </a:fld>
            <a:endParaRPr lang="en-US" sz="750" dirty="0">
              <a:solidFill>
                <a:srgbClr val="191918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1629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z="195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42900" y="2811997"/>
            <a:ext cx="8229600" cy="107817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54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edi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" y="558557"/>
            <a:ext cx="1707120" cy="1646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7616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No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180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359171" y="5338724"/>
            <a:ext cx="30168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750" smtClean="0">
                <a:solidFill>
                  <a:srgbClr val="191918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/>
              <a:t>‹Nº›</a:t>
            </a:fld>
            <a:endParaRPr lang="en-US" sz="750" dirty="0">
              <a:solidFill>
                <a:srgbClr val="191918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57188" y="1261810"/>
            <a:ext cx="8329612" cy="464919"/>
          </a:xfrm>
          <a:prstGeom prst="rect">
            <a:avLst/>
          </a:prstGeom>
        </p:spPr>
        <p:txBody>
          <a:bodyPr vert="horz"/>
          <a:lstStyle>
            <a:lvl1pPr marL="0" marR="0" indent="0" algn="l" defTabSz="3429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rgbClr val="191918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342900" indent="0">
              <a:buFontTx/>
              <a:buNone/>
              <a:defRPr sz="1350">
                <a:latin typeface="Graphik Regular"/>
                <a:cs typeface="Graphik Regular"/>
              </a:defRPr>
            </a:lvl2pPr>
            <a:lvl3pPr marL="685800" indent="0">
              <a:buNone/>
              <a:defRPr sz="1350">
                <a:latin typeface="Graphik Regular"/>
                <a:cs typeface="Graphik Regular"/>
              </a:defRPr>
            </a:lvl3pPr>
            <a:lvl4pPr marL="102870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57188" y="1968320"/>
            <a:ext cx="8337550" cy="23296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>
                <a:solidFill>
                  <a:srgbClr val="191918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557213" indent="-214313">
              <a:buFont typeface="Arial"/>
              <a:buChar char="•"/>
              <a:defRPr sz="1350">
                <a:solidFill>
                  <a:srgbClr val="191918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 sz="1350">
                <a:solidFill>
                  <a:srgbClr val="191918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4194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3987814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180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267709" y="342729"/>
            <a:ext cx="4478019" cy="678433"/>
          </a:xfrm>
          <a:prstGeom prst="rect">
            <a:avLst/>
          </a:prstGeom>
        </p:spPr>
        <p:txBody>
          <a:bodyPr vert="horz"/>
          <a:lstStyle>
            <a:lvl1pPr marL="0" marR="0" indent="0" algn="l" defTabSz="3429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rgbClr val="191918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342900" indent="0">
              <a:buFontTx/>
              <a:buNone/>
              <a:defRPr sz="1350">
                <a:latin typeface="Graphik Regular"/>
                <a:cs typeface="Graphik Regular"/>
              </a:defRPr>
            </a:lvl2pPr>
            <a:lvl3pPr marL="685800" indent="0">
              <a:buNone/>
              <a:defRPr sz="1350">
                <a:latin typeface="Graphik Regular"/>
                <a:cs typeface="Graphik Regular"/>
              </a:defRPr>
            </a:lvl3pPr>
            <a:lvl4pPr marL="102870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10793" y="1151123"/>
            <a:ext cx="4734937" cy="2135147"/>
          </a:xfrm>
          <a:prstGeom prst="rect">
            <a:avLst/>
          </a:prstGeom>
        </p:spPr>
        <p:txBody>
          <a:bodyPr vert="horz"/>
          <a:lstStyle>
            <a:lvl1pPr marL="171450" indent="-171450">
              <a:spcBef>
                <a:spcPts val="0"/>
              </a:spcBef>
              <a:buFont typeface="Arial"/>
              <a:buChar char="•"/>
              <a:defRPr sz="1350">
                <a:solidFill>
                  <a:srgbClr val="191918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557213" indent="-214313">
              <a:buFont typeface="Arial"/>
              <a:buChar char="•"/>
              <a:defRPr sz="135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35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0" y="3536922"/>
            <a:ext cx="9144000" cy="2197927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346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Grap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3987814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180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267709" y="342729"/>
            <a:ext cx="4478019" cy="678433"/>
          </a:xfrm>
          <a:prstGeom prst="rect">
            <a:avLst/>
          </a:prstGeom>
        </p:spPr>
        <p:txBody>
          <a:bodyPr vert="horz"/>
          <a:lstStyle>
            <a:lvl1pPr marL="0" marR="0" indent="0" algn="l" defTabSz="3429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rgbClr val="191918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342900" indent="0">
              <a:buFontTx/>
              <a:buNone/>
              <a:defRPr sz="1350">
                <a:latin typeface="Graphik Regular"/>
                <a:cs typeface="Graphik Regular"/>
              </a:defRPr>
            </a:lvl2pPr>
            <a:lvl3pPr marL="685800" indent="0">
              <a:buNone/>
              <a:defRPr sz="1350">
                <a:latin typeface="Graphik Regular"/>
                <a:cs typeface="Graphik Regular"/>
              </a:defRPr>
            </a:lvl3pPr>
            <a:lvl4pPr marL="102870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10793" y="1151123"/>
            <a:ext cx="4734937" cy="2135147"/>
          </a:xfrm>
          <a:prstGeom prst="rect">
            <a:avLst/>
          </a:prstGeom>
        </p:spPr>
        <p:txBody>
          <a:bodyPr vert="horz"/>
          <a:lstStyle>
            <a:lvl1pPr marL="171450" indent="-171450">
              <a:spcBef>
                <a:spcPts val="0"/>
              </a:spcBef>
              <a:buFont typeface="Arial"/>
              <a:buChar char="•"/>
              <a:defRPr sz="1350">
                <a:solidFill>
                  <a:srgbClr val="191918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557213" indent="-214313">
              <a:buFont typeface="Arial"/>
              <a:buChar char="•"/>
              <a:defRPr sz="135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35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martArt Placeholder 4"/>
          <p:cNvSpPr>
            <a:spLocks noGrp="1"/>
          </p:cNvSpPr>
          <p:nvPr>
            <p:ph type="dgm" sz="quarter" idx="14" hasCustomPrompt="1"/>
          </p:nvPr>
        </p:nvSpPr>
        <p:spPr>
          <a:xfrm>
            <a:off x="357188" y="1151129"/>
            <a:ext cx="3487448" cy="3900013"/>
          </a:xfrm>
          <a:prstGeom prst="rect">
            <a:avLst/>
          </a:prstGeom>
        </p:spPr>
        <p:txBody>
          <a:bodyPr vert="horz"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359171" y="5338724"/>
            <a:ext cx="30168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750" smtClean="0">
                <a:solidFill>
                  <a:srgbClr val="191918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/>
              <a:t>‹Nº›</a:t>
            </a:fld>
            <a:endParaRPr lang="en-US" sz="750" dirty="0">
              <a:solidFill>
                <a:srgbClr val="191918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7392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_Slide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1800" baseline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 smtClean="0"/>
              <a:t>Click to edi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359171" y="5338724"/>
            <a:ext cx="30168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750" smtClean="0">
                <a:solidFill>
                  <a:srgbClr val="191918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/>
              <a:t>‹Nº›</a:t>
            </a:fld>
            <a:endParaRPr lang="en-US" sz="750" dirty="0">
              <a:solidFill>
                <a:srgbClr val="191918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6676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46967" y="5051755"/>
            <a:ext cx="454219" cy="438161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59171" y="5292218"/>
            <a:ext cx="34977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50" smtClean="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/>
              <a:t>‹Nº›</a:t>
            </a:fld>
            <a:endParaRPr lang="en-US" sz="1050" dirty="0">
              <a:solidFill>
                <a:srgbClr val="FFFFFF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9103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Black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359172" y="5292218"/>
            <a:ext cx="34176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50" smtClean="0">
                <a:solidFill>
                  <a:srgbClr val="FFFFFF"/>
                </a:solidFill>
              </a:rPr>
              <a:pPr/>
              <a:t>‹Nº›</a:t>
            </a:fld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359171" y="5338724"/>
            <a:ext cx="30168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750" smtClean="0">
                <a:solidFill>
                  <a:srgbClr val="191918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/>
              <a:t>‹Nº›</a:t>
            </a:fld>
            <a:endParaRPr lang="en-US" sz="750" dirty="0">
              <a:solidFill>
                <a:srgbClr val="191918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34249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Slid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Graphik Regular"/>
                <a:cs typeface="Graphik Regular"/>
              </a:defRPr>
            </a:lvl1pPr>
            <a:lvl2pPr>
              <a:defRPr sz="1800">
                <a:latin typeface="Graphik Regular"/>
                <a:cs typeface="Graphik Regular"/>
              </a:defRPr>
            </a:lvl2pPr>
            <a:lvl3pPr>
              <a:defRPr sz="1600">
                <a:latin typeface="Graphik Regular"/>
                <a:cs typeface="Graphik Regular"/>
              </a:defRPr>
            </a:lvl3pPr>
            <a:lvl4pPr>
              <a:defRPr sz="1800">
                <a:latin typeface="Graphik Regular"/>
                <a:cs typeface="Graphik Regular"/>
              </a:defRPr>
            </a:lvl4pPr>
            <a:lvl5pPr>
              <a:defRPr sz="1800">
                <a:latin typeface="Graphik Regular"/>
                <a:cs typeface="Graphik Regular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Graphik Regular"/>
                <a:cs typeface="Graphik Regular"/>
              </a:defRPr>
            </a:lvl1pPr>
            <a:lvl2pPr>
              <a:defRPr sz="1800">
                <a:latin typeface="Graphik Regular"/>
                <a:cs typeface="Graphik Regular"/>
              </a:defRPr>
            </a:lvl2pPr>
            <a:lvl3pPr>
              <a:defRPr sz="1600">
                <a:latin typeface="Graphik Regular"/>
                <a:cs typeface="Graphik Regular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368072" y="235079"/>
            <a:ext cx="8229600" cy="9525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Graphik Bold"/>
                <a:ea typeface="+mj-ea"/>
                <a:cs typeface="Graphik Bold"/>
              </a:defRPr>
            </a:lvl1pPr>
          </a:lstStyle>
          <a:p>
            <a:r>
              <a:rPr lang="en-US" sz="2800" dirty="0" smtClean="0"/>
              <a:t>Click to edit Master title style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549882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1960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z="195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89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Footer+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-1"/>
            <a:ext cx="9144000" cy="4849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260483"/>
            <a:ext cx="5486400" cy="2270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59172" y="5292218"/>
            <a:ext cx="34176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50" smtClean="0">
                <a:solidFill>
                  <a:srgbClr val="FFFFFF"/>
                </a:solidFill>
              </a:rPr>
              <a:pPr/>
              <a:t>‹Nº›</a:t>
            </a:fld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1" y="5338724"/>
            <a:ext cx="30168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750" smtClean="0">
                <a:solidFill>
                  <a:srgbClr val="191918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/>
              <a:t>‹Nº›</a:t>
            </a:fld>
            <a:endParaRPr lang="en-US" sz="750" dirty="0">
              <a:solidFill>
                <a:srgbClr val="191918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1998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775441"/>
            <a:ext cx="7772400" cy="122502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5296971"/>
            <a:ext cx="2133600" cy="304271"/>
          </a:xfrm>
          <a:prstGeom prst="rect">
            <a:avLst/>
          </a:prstGeom>
        </p:spPr>
        <p:txBody>
          <a:bodyPr/>
          <a:lstStyle/>
          <a:p>
            <a:pPr defTabSz="342900"/>
            <a:fld id="{CB878FAA-D17E-4241-9FA3-BB0F7E0D6E2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342900"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5296971"/>
            <a:ext cx="2895600" cy="304271"/>
          </a:xfrm>
          <a:prstGeom prst="rect">
            <a:avLst/>
          </a:prstGeom>
        </p:spPr>
        <p:txBody>
          <a:bodyPr/>
          <a:lstStyle/>
          <a:p>
            <a:pPr defTabSz="342900"/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LAW ENFORCEMENT SENSITIVE - DO NOT DISTRIBUTE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5296971"/>
            <a:ext cx="2133600" cy="304271"/>
          </a:xfrm>
          <a:prstGeom prst="rect">
            <a:avLst/>
          </a:prstGeom>
        </p:spPr>
        <p:txBody>
          <a:bodyPr/>
          <a:lstStyle/>
          <a:p>
            <a:pPr defTabSz="342900"/>
            <a:fld id="{18DF7A26-5934-4F31-A87A-FBDB314E051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342900"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580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0505"/>
            <a:ext cx="8229600" cy="94985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5203032"/>
            <a:ext cx="2133600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342900"/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5207000"/>
            <a:ext cx="2895600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342900"/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5203032"/>
            <a:ext cx="2133600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342900"/>
            <a:fld id="{C45D2E7F-2321-47CD-B1C0-1F88E629D7D4}" type="slidenum">
              <a:rPr lang="en-US" altLang="en-US" smtClean="0">
                <a:solidFill>
                  <a:srgbClr val="CCCCFF"/>
                </a:solidFill>
              </a:rPr>
              <a:pPr defTabSz="342900"/>
              <a:t>‹Nº›</a:t>
            </a:fld>
            <a:endParaRPr lang="en-US" altLang="en-US">
              <a:solidFill>
                <a:srgbClr val="CC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0911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>
          <a:xfrm>
            <a:off x="385670" y="317340"/>
            <a:ext cx="2959678" cy="91908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80000"/>
              </a:lnSpc>
            </a:pPr>
            <a:r>
              <a:rPr lang="en-US" sz="2600" dirty="0" smtClean="0">
                <a:solidFill>
                  <a:srgbClr val="7C0622"/>
                </a:solidFill>
                <a:latin typeface="Graphik Medium"/>
                <a:cs typeface="Graphik Medium"/>
              </a:rPr>
              <a:t>UChicago</a:t>
            </a:r>
            <a:r>
              <a:rPr lang="en-US" sz="2600" dirty="0" smtClean="0">
                <a:solidFill>
                  <a:srgbClr val="800000"/>
                </a:solidFill>
                <a:latin typeface="Graphik Medium"/>
                <a:cs typeface="Graphik Medium"/>
              </a:rPr>
              <a:t/>
            </a:r>
            <a:br>
              <a:rPr lang="en-US" sz="2600" dirty="0" smtClean="0">
                <a:solidFill>
                  <a:srgbClr val="800000"/>
                </a:solidFill>
                <a:latin typeface="Graphik Medium"/>
                <a:cs typeface="Graphik Medium"/>
              </a:rPr>
            </a:br>
            <a:r>
              <a:rPr lang="en-US" sz="2600" dirty="0" smtClean="0">
                <a:solidFill>
                  <a:prstClr val="white"/>
                </a:solidFill>
                <a:latin typeface="Graphik Medium"/>
                <a:cs typeface="Graphik Medium"/>
              </a:rPr>
              <a:t>Urban Labs</a:t>
            </a:r>
            <a:endParaRPr lang="en-US" sz="2600" dirty="0">
              <a:solidFill>
                <a:prstClr val="white"/>
              </a:solidFill>
              <a:latin typeface="Graphik Medium"/>
              <a:cs typeface="Graphik Medium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5670" y="2013480"/>
            <a:ext cx="7772400" cy="2516746"/>
          </a:xfrm>
          <a:prstGeom prst="rect">
            <a:avLst/>
          </a:prstGeom>
        </p:spPr>
        <p:txBody>
          <a:bodyPr/>
          <a:lstStyle>
            <a:lvl1pPr algn="l">
              <a:defRPr sz="4200">
                <a:solidFill>
                  <a:schemeClr val="bg1"/>
                </a:solidFill>
                <a:latin typeface="Graphik Extralight"/>
                <a:cs typeface="Graphik Extraligh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85671" y="5145874"/>
            <a:ext cx="1317990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fld id="{5E39406D-D94F-A44D-A63B-B31AC2027295}" type="datetime4">
              <a:rPr lang="en-US" sz="1400" smtClean="0">
                <a:solidFill>
                  <a:srgbClr val="FFFFFF"/>
                </a:solidFill>
                <a:latin typeface="Graphik Light"/>
                <a:cs typeface="Graphik Light"/>
              </a:rPr>
              <a:pPr>
                <a:lnSpc>
                  <a:spcPct val="90000"/>
                </a:lnSpc>
              </a:pPr>
              <a:t>June 28, 2016</a:t>
            </a:fld>
            <a:endParaRPr lang="en-US" sz="1400" dirty="0">
              <a:solidFill>
                <a:srgbClr val="FFFFFF"/>
              </a:solidFill>
              <a:latin typeface="Graphik Light"/>
              <a:cs typeface="Graphik Light"/>
            </a:endParaRPr>
          </a:p>
        </p:txBody>
      </p:sp>
    </p:spTree>
    <p:extLst>
      <p:ext uri="{BB962C8B-B14F-4D97-AF65-F5344CB8AC3E}">
        <p14:creationId xmlns:p14="http://schemas.microsoft.com/office/powerpoint/2010/main" val="2882306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Divider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420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2" y="5338709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10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1922331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1"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420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59172" y="5338709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10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2495578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4000">
                <a:solidFill>
                  <a:schemeClr val="tx1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359172" y="5338709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00" smtClean="0">
                <a:solidFill>
                  <a:srgbClr val="191918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1000" dirty="0">
              <a:solidFill>
                <a:srgbClr val="191918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1900559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Slid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072" y="235135"/>
            <a:ext cx="8229600" cy="524997"/>
          </a:xfrm>
          <a:prstGeom prst="rect">
            <a:avLst/>
          </a:prstGeom>
        </p:spPr>
        <p:txBody>
          <a:bodyPr/>
          <a:lstStyle>
            <a:lvl1pPr algn="l">
              <a:defRPr sz="2800"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931" y="1187615"/>
            <a:ext cx="8229600" cy="3917557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Graphik Regular"/>
                <a:cs typeface="Graphik Regular"/>
              </a:defRPr>
            </a:lvl1pPr>
            <a:lvl2pPr>
              <a:defRPr sz="2000">
                <a:latin typeface="Graphik Regular"/>
                <a:cs typeface="Graphik Regular"/>
              </a:defRPr>
            </a:lvl2pPr>
            <a:lvl3pPr>
              <a:defRPr sz="1800">
                <a:latin typeface="Graphik Regular"/>
                <a:cs typeface="Graphik Regular"/>
              </a:defRPr>
            </a:lvl3pPr>
            <a:lvl4pPr>
              <a:defRPr>
                <a:latin typeface="Graphik Regular"/>
                <a:cs typeface="Graphik Regular"/>
              </a:defRPr>
            </a:lvl4pPr>
            <a:lvl5pPr>
              <a:defRPr>
                <a:latin typeface="Graphik Regular"/>
                <a:cs typeface="Graphik Regular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59172" y="5338709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00" smtClean="0">
                <a:solidFill>
                  <a:srgbClr val="191918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1000" dirty="0">
              <a:solidFill>
                <a:srgbClr val="191918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3351988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z="260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42900" y="2811995"/>
            <a:ext cx="8229600" cy="107817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200">
                <a:solidFill>
                  <a:schemeClr val="bg1"/>
                </a:solidFill>
                <a:latin typeface="Graphik Semibold"/>
                <a:cs typeface="Graphik Semibold"/>
              </a:defRPr>
            </a:lvl1pPr>
          </a:lstStyle>
          <a:p>
            <a:pPr lvl="0"/>
            <a:r>
              <a:rPr lang="en-US" dirty="0" smtClean="0"/>
              <a:t>Click to edi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" y="465429"/>
            <a:ext cx="1707120" cy="1976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172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Slid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Graphik Regular"/>
                <a:cs typeface="Graphik Regular"/>
              </a:defRPr>
            </a:lvl1pPr>
            <a:lvl2pPr>
              <a:defRPr sz="1800">
                <a:latin typeface="Graphik Regular"/>
                <a:cs typeface="Graphik Regular"/>
              </a:defRPr>
            </a:lvl2pPr>
            <a:lvl3pPr>
              <a:defRPr sz="1600">
                <a:latin typeface="Graphik Regular"/>
                <a:cs typeface="Graphik Regular"/>
              </a:defRPr>
            </a:lvl3pPr>
            <a:lvl4pPr>
              <a:defRPr sz="1800">
                <a:latin typeface="Graphik Regular"/>
                <a:cs typeface="Graphik Regular"/>
              </a:defRPr>
            </a:lvl4pPr>
            <a:lvl5pPr>
              <a:defRPr sz="1800">
                <a:latin typeface="Graphik Regular"/>
                <a:cs typeface="Graphik Regular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Graphik Regular"/>
                <a:cs typeface="Graphik Regular"/>
              </a:defRPr>
            </a:lvl1pPr>
            <a:lvl2pPr>
              <a:defRPr sz="1800">
                <a:latin typeface="Graphik Regular"/>
                <a:cs typeface="Graphik Regular"/>
              </a:defRPr>
            </a:lvl2pPr>
            <a:lvl3pPr>
              <a:defRPr sz="1600">
                <a:latin typeface="Graphik Regular"/>
                <a:cs typeface="Graphik Regular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368072" y="235079"/>
            <a:ext cx="8229600" cy="9525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Graphik Bold"/>
                <a:ea typeface="+mj-ea"/>
                <a:cs typeface="Graphik Bold"/>
              </a:defRPr>
            </a:lvl1pPr>
          </a:lstStyle>
          <a:p>
            <a:r>
              <a:rPr lang="en-US" sz="2800" dirty="0" smtClean="0">
                <a:solidFill>
                  <a:prstClr val="black"/>
                </a:solidFill>
              </a:rPr>
              <a:t>Click to edit Master title style</a:t>
            </a:r>
            <a:endParaRPr lang="en-US" sz="28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2" y="5338709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00" smtClean="0">
                <a:solidFill>
                  <a:srgbClr val="191918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1000" dirty="0">
              <a:solidFill>
                <a:srgbClr val="191918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146084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z="260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42900" y="2811995"/>
            <a:ext cx="8229600" cy="107817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200">
                <a:solidFill>
                  <a:schemeClr val="bg1"/>
                </a:solidFill>
                <a:latin typeface="Graphik Semibold"/>
                <a:cs typeface="Graphik Semibold"/>
              </a:defRPr>
            </a:lvl1pPr>
          </a:lstStyle>
          <a:p>
            <a:pPr lvl="0"/>
            <a:r>
              <a:rPr lang="en-US" dirty="0" smtClean="0"/>
              <a:t>Click to edi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" y="558550"/>
            <a:ext cx="1707120" cy="1646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8228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No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40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359172" y="5338709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00" smtClean="0">
                <a:solidFill>
                  <a:srgbClr val="191918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1000" dirty="0">
              <a:solidFill>
                <a:srgbClr val="191918"/>
              </a:solidFill>
              <a:latin typeface="Graphik Medium"/>
              <a:cs typeface="Graphik Medium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57188" y="1261765"/>
            <a:ext cx="8329612" cy="464918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57200" indent="0">
              <a:buFontTx/>
              <a:buNone/>
              <a:defRPr sz="1800">
                <a:latin typeface="Graphik Regular"/>
                <a:cs typeface="Graphik Regular"/>
              </a:defRPr>
            </a:lvl2pPr>
            <a:lvl3pPr marL="914400" indent="0">
              <a:buNone/>
              <a:defRPr sz="1800">
                <a:latin typeface="Graphik Regular"/>
                <a:cs typeface="Graphik Regular"/>
              </a:defRPr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57188" y="1968316"/>
            <a:ext cx="8337550" cy="23296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742950" indent="-285750">
              <a:buFont typeface="Arial"/>
              <a:buChar char="•"/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36846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3987814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40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267709" y="342729"/>
            <a:ext cx="4478019" cy="678433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57200" indent="0">
              <a:buFontTx/>
              <a:buNone/>
              <a:defRPr sz="1800">
                <a:latin typeface="Graphik Regular"/>
                <a:cs typeface="Graphik Regular"/>
              </a:defRPr>
            </a:lvl2pPr>
            <a:lvl3pPr marL="914400" indent="0">
              <a:buNone/>
              <a:defRPr sz="1800">
                <a:latin typeface="Graphik Regular"/>
                <a:cs typeface="Graphik Regular"/>
              </a:defRPr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10793" y="1151123"/>
            <a:ext cx="4734937" cy="2135147"/>
          </a:xfrm>
          <a:prstGeom prst="rect">
            <a:avLst/>
          </a:prstGeom>
        </p:spPr>
        <p:txBody>
          <a:bodyPr vert="horz"/>
          <a:lstStyle>
            <a:lvl1pPr marL="228600" indent="-228600">
              <a:spcBef>
                <a:spcPts val="0"/>
              </a:spcBef>
              <a:buFont typeface="Arial"/>
              <a:buChar char="•"/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742950" indent="-285750">
              <a:buFont typeface="Arial"/>
              <a:buChar char="•"/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0" y="3536922"/>
            <a:ext cx="9144000" cy="2197927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879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Grap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3987814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40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267709" y="342729"/>
            <a:ext cx="4478019" cy="678433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57200" indent="0">
              <a:buFontTx/>
              <a:buNone/>
              <a:defRPr sz="1800">
                <a:latin typeface="Graphik Regular"/>
                <a:cs typeface="Graphik Regular"/>
              </a:defRPr>
            </a:lvl2pPr>
            <a:lvl3pPr marL="914400" indent="0">
              <a:buNone/>
              <a:defRPr sz="1800">
                <a:latin typeface="Graphik Regular"/>
                <a:cs typeface="Graphik Regular"/>
              </a:defRPr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10793" y="1151123"/>
            <a:ext cx="4734937" cy="2135147"/>
          </a:xfrm>
          <a:prstGeom prst="rect">
            <a:avLst/>
          </a:prstGeom>
        </p:spPr>
        <p:txBody>
          <a:bodyPr vert="horz"/>
          <a:lstStyle>
            <a:lvl1pPr marL="228600" indent="-228600">
              <a:spcBef>
                <a:spcPts val="0"/>
              </a:spcBef>
              <a:buFont typeface="Arial"/>
              <a:buChar char="•"/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742950" indent="-285750">
              <a:buFont typeface="Arial"/>
              <a:buChar char="•"/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martArt Placeholder 4"/>
          <p:cNvSpPr>
            <a:spLocks noGrp="1"/>
          </p:cNvSpPr>
          <p:nvPr>
            <p:ph type="dgm" sz="quarter" idx="14" hasCustomPrompt="1"/>
          </p:nvPr>
        </p:nvSpPr>
        <p:spPr>
          <a:xfrm>
            <a:off x="357188" y="1151129"/>
            <a:ext cx="3487448" cy="3900013"/>
          </a:xfrm>
          <a:prstGeom prst="rect">
            <a:avLst/>
          </a:prstGeom>
        </p:spPr>
        <p:txBody>
          <a:bodyPr vert="horz"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359172" y="5338709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00" smtClean="0">
                <a:solidFill>
                  <a:srgbClr val="191918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1000" dirty="0">
              <a:solidFill>
                <a:srgbClr val="191918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4008834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_Slide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400" baseline="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359172" y="5338709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00" smtClean="0">
                <a:solidFill>
                  <a:srgbClr val="191918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1000" dirty="0">
              <a:solidFill>
                <a:srgbClr val="191918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1483440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46967" y="5051747"/>
            <a:ext cx="454219" cy="438161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59172" y="5292312"/>
            <a:ext cx="4026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400" smtClean="0">
                <a:solidFill>
                  <a:srgbClr val="FFFFFF"/>
                </a:solidFill>
                <a:latin typeface="Graphik Regular"/>
                <a:cs typeface="Graphik Regular"/>
              </a:rPr>
              <a:pPr/>
              <a:t>‹Nº›</a:t>
            </a:fld>
            <a:endParaRPr lang="en-US" sz="1400" dirty="0">
              <a:solidFill>
                <a:srgbClr val="FFFFFF"/>
              </a:solidFill>
              <a:latin typeface="Graphik Regular"/>
              <a:cs typeface="Graphik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80715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359172" y="5292312"/>
            <a:ext cx="3962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400" smtClean="0">
                <a:solidFill>
                  <a:srgbClr val="FFFFFF"/>
                </a:solidFill>
              </a:rPr>
              <a:pPr/>
              <a:t>‹Nº›</a:t>
            </a:fld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359172" y="5338709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00" smtClean="0">
                <a:solidFill>
                  <a:srgbClr val="191918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1000" dirty="0">
              <a:solidFill>
                <a:srgbClr val="191918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1845694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4651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z="260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4189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No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40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57188" y="1261810"/>
            <a:ext cx="8329612" cy="464919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57200" indent="0">
              <a:buFontTx/>
              <a:buNone/>
              <a:defRPr sz="1800">
                <a:latin typeface="Graphik Regular"/>
                <a:cs typeface="Graphik Regular"/>
              </a:defRPr>
            </a:lvl2pPr>
            <a:lvl3pPr marL="914400" indent="0">
              <a:buNone/>
              <a:defRPr sz="1800">
                <a:latin typeface="Graphik Regular"/>
                <a:cs typeface="Graphik Regular"/>
              </a:defRPr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57188" y="1968316"/>
            <a:ext cx="8337550" cy="23296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742950" indent="-285750">
              <a:buFont typeface="Arial"/>
              <a:buChar char="•"/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60896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Footer+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-1"/>
            <a:ext cx="9144000" cy="4849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260475"/>
            <a:ext cx="5486400" cy="2270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Graphik Regular"/>
                <a:cs typeface="Graphik Regular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59172" y="5292312"/>
            <a:ext cx="3962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400" smtClean="0">
                <a:solidFill>
                  <a:srgbClr val="FFFFFF"/>
                </a:solidFill>
              </a:rPr>
              <a:pPr/>
              <a:t>‹Nº›</a:t>
            </a:fld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2" y="5338709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00" smtClean="0">
                <a:solidFill>
                  <a:srgbClr val="191918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1000" dirty="0">
              <a:solidFill>
                <a:srgbClr val="191918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3293328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>
          <a:xfrm>
            <a:off x="385670" y="317340"/>
            <a:ext cx="2959678" cy="91908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80000"/>
              </a:lnSpc>
            </a:pPr>
            <a:r>
              <a:rPr lang="en-US" sz="2600" dirty="0" smtClean="0">
                <a:solidFill>
                  <a:srgbClr val="7C0622"/>
                </a:solidFill>
                <a:latin typeface="Graphik Medium"/>
                <a:cs typeface="Graphik Medium"/>
              </a:rPr>
              <a:t>UChicago</a:t>
            </a:r>
            <a:r>
              <a:rPr lang="en-US" sz="2600" dirty="0" smtClean="0">
                <a:solidFill>
                  <a:srgbClr val="800000"/>
                </a:solidFill>
                <a:latin typeface="Graphik Medium"/>
                <a:cs typeface="Graphik Medium"/>
              </a:rPr>
              <a:t/>
            </a:r>
            <a:br>
              <a:rPr lang="en-US" sz="2600" dirty="0" smtClean="0">
                <a:solidFill>
                  <a:srgbClr val="800000"/>
                </a:solidFill>
                <a:latin typeface="Graphik Medium"/>
                <a:cs typeface="Graphik Medium"/>
              </a:rPr>
            </a:br>
            <a:r>
              <a:rPr lang="en-US" sz="2600" dirty="0" smtClean="0">
                <a:solidFill>
                  <a:prstClr val="white"/>
                </a:solidFill>
                <a:latin typeface="Graphik Medium"/>
                <a:cs typeface="Graphik Medium"/>
              </a:rPr>
              <a:t>Urban Labs</a:t>
            </a:r>
            <a:endParaRPr lang="en-US" sz="2600" dirty="0">
              <a:solidFill>
                <a:prstClr val="white"/>
              </a:solidFill>
              <a:latin typeface="Graphik Medium"/>
              <a:cs typeface="Graphik Medium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5670" y="2013480"/>
            <a:ext cx="7772400" cy="2516746"/>
          </a:xfrm>
          <a:prstGeom prst="rect">
            <a:avLst/>
          </a:prstGeom>
        </p:spPr>
        <p:txBody>
          <a:bodyPr/>
          <a:lstStyle>
            <a:lvl1pPr algn="l">
              <a:defRPr sz="4200">
                <a:solidFill>
                  <a:schemeClr val="bg1"/>
                </a:solidFill>
                <a:latin typeface="Graphik Extralight"/>
                <a:cs typeface="Graphik Extraligh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85671" y="5145874"/>
            <a:ext cx="1317990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fld id="{5E39406D-D94F-A44D-A63B-B31AC2027295}" type="datetime4">
              <a:rPr lang="en-US" sz="1400" smtClean="0">
                <a:solidFill>
                  <a:srgbClr val="FFFFFF"/>
                </a:solidFill>
                <a:latin typeface="Graphik Light"/>
                <a:cs typeface="Graphik Light"/>
              </a:rPr>
              <a:pPr>
                <a:lnSpc>
                  <a:spcPct val="90000"/>
                </a:lnSpc>
              </a:pPr>
              <a:t>June 28, 2016</a:t>
            </a:fld>
            <a:endParaRPr lang="en-US" sz="1400" dirty="0">
              <a:solidFill>
                <a:srgbClr val="FFFFFF"/>
              </a:solidFill>
              <a:latin typeface="Graphik Light"/>
              <a:cs typeface="Graphik Light"/>
            </a:endParaRPr>
          </a:p>
        </p:txBody>
      </p:sp>
    </p:spTree>
    <p:extLst>
      <p:ext uri="{BB962C8B-B14F-4D97-AF65-F5344CB8AC3E}">
        <p14:creationId xmlns:p14="http://schemas.microsoft.com/office/powerpoint/2010/main" val="1555779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Divider">
    <p:bg>
      <p:bgPr>
        <a:solidFill>
          <a:srgbClr val="1717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420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2" y="5338703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10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1726212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1"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4200">
                <a:solidFill>
                  <a:srgbClr val="FFFFFF"/>
                </a:solidFill>
                <a:latin typeface="Graphik Regular"/>
                <a:cs typeface="Graphik Regular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59172" y="5338703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00" smtClean="0">
                <a:solidFill>
                  <a:srgbClr val="FFFFFF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1000" dirty="0">
              <a:solidFill>
                <a:srgbClr val="FFFFFF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1434247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Slide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289637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4000">
                <a:solidFill>
                  <a:schemeClr val="tx1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359172" y="5338703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00" smtClean="0">
                <a:solidFill>
                  <a:srgbClr val="191918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1000" dirty="0">
              <a:solidFill>
                <a:srgbClr val="191918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3049059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Slid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072" y="235135"/>
            <a:ext cx="8229600" cy="524997"/>
          </a:xfrm>
          <a:prstGeom prst="rect">
            <a:avLst/>
          </a:prstGeom>
        </p:spPr>
        <p:txBody>
          <a:bodyPr/>
          <a:lstStyle>
            <a:lvl1pPr algn="l">
              <a:defRPr sz="2800"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931" y="1187615"/>
            <a:ext cx="8229600" cy="3917557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Graphik Regular"/>
                <a:cs typeface="Graphik Regular"/>
              </a:defRPr>
            </a:lvl1pPr>
            <a:lvl2pPr>
              <a:defRPr sz="2000">
                <a:latin typeface="Graphik Regular"/>
                <a:cs typeface="Graphik Regular"/>
              </a:defRPr>
            </a:lvl2pPr>
            <a:lvl3pPr>
              <a:defRPr sz="1800">
                <a:latin typeface="Graphik Regular"/>
                <a:cs typeface="Graphik Regular"/>
              </a:defRPr>
            </a:lvl3pPr>
            <a:lvl4pPr>
              <a:defRPr>
                <a:latin typeface="Graphik Regular"/>
                <a:cs typeface="Graphik Regular"/>
              </a:defRPr>
            </a:lvl4pPr>
            <a:lvl5pPr>
              <a:defRPr>
                <a:latin typeface="Graphik Regular"/>
                <a:cs typeface="Graphik Regular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59172" y="5338703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00" smtClean="0">
                <a:solidFill>
                  <a:srgbClr val="191918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1000" dirty="0">
              <a:solidFill>
                <a:srgbClr val="191918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3804935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Slid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Graphik Regular"/>
                <a:cs typeface="Graphik Regular"/>
              </a:defRPr>
            </a:lvl1pPr>
            <a:lvl2pPr>
              <a:defRPr sz="1800">
                <a:latin typeface="Graphik Regular"/>
                <a:cs typeface="Graphik Regular"/>
              </a:defRPr>
            </a:lvl2pPr>
            <a:lvl3pPr>
              <a:defRPr sz="1600">
                <a:latin typeface="Graphik Regular"/>
                <a:cs typeface="Graphik Regular"/>
              </a:defRPr>
            </a:lvl3pPr>
            <a:lvl4pPr>
              <a:defRPr sz="1800">
                <a:latin typeface="Graphik Regular"/>
                <a:cs typeface="Graphik Regular"/>
              </a:defRPr>
            </a:lvl4pPr>
            <a:lvl5pPr>
              <a:defRPr sz="1800">
                <a:latin typeface="Graphik Regular"/>
                <a:cs typeface="Graphik Regular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02601"/>
            <a:ext cx="4038600" cy="3725220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Graphik Regular"/>
                <a:cs typeface="Graphik Regular"/>
              </a:defRPr>
            </a:lvl1pPr>
            <a:lvl2pPr>
              <a:defRPr sz="1800">
                <a:latin typeface="Graphik Regular"/>
                <a:cs typeface="Graphik Regular"/>
              </a:defRPr>
            </a:lvl2pPr>
            <a:lvl3pPr>
              <a:defRPr sz="1600">
                <a:latin typeface="Graphik Regular"/>
                <a:cs typeface="Graphik Regular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368072" y="235079"/>
            <a:ext cx="8229600" cy="9525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Graphik Bold"/>
                <a:ea typeface="+mj-ea"/>
                <a:cs typeface="Graphik Bold"/>
              </a:defRPr>
            </a:lvl1pPr>
          </a:lstStyle>
          <a:p>
            <a:r>
              <a:rPr lang="en-US" sz="2800" dirty="0" smtClean="0">
                <a:solidFill>
                  <a:prstClr val="black"/>
                </a:solidFill>
              </a:rPr>
              <a:t>Click to edit Master title style</a:t>
            </a:r>
            <a:endParaRPr lang="en-US" sz="28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2" y="5338703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00" smtClean="0">
                <a:solidFill>
                  <a:srgbClr val="191918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1000" dirty="0">
              <a:solidFill>
                <a:srgbClr val="191918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3219311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z="260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42900" y="2811995"/>
            <a:ext cx="8229600" cy="107817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200">
                <a:solidFill>
                  <a:schemeClr val="bg1"/>
                </a:solidFill>
                <a:latin typeface="Graphik Semibold"/>
                <a:cs typeface="Graphik Semibold"/>
              </a:defRPr>
            </a:lvl1pPr>
          </a:lstStyle>
          <a:p>
            <a:pPr lvl="0"/>
            <a:r>
              <a:rPr lang="en-US" dirty="0" smtClean="0"/>
              <a:t>Click to edi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" y="558550"/>
            <a:ext cx="1707120" cy="1646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97093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No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40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359172" y="5338703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00" smtClean="0">
                <a:solidFill>
                  <a:srgbClr val="191918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1000" dirty="0">
              <a:solidFill>
                <a:srgbClr val="191918"/>
              </a:solidFill>
              <a:latin typeface="Graphik Medium"/>
              <a:cs typeface="Graphik Medium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57188" y="1261765"/>
            <a:ext cx="8329612" cy="464918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57200" indent="0">
              <a:buFontTx/>
              <a:buNone/>
              <a:defRPr sz="1800">
                <a:latin typeface="Graphik Regular"/>
                <a:cs typeface="Graphik Regular"/>
              </a:defRPr>
            </a:lvl2pPr>
            <a:lvl3pPr marL="914400" indent="0">
              <a:buNone/>
              <a:defRPr sz="1800">
                <a:latin typeface="Graphik Regular"/>
                <a:cs typeface="Graphik Regular"/>
              </a:defRPr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57188" y="1968316"/>
            <a:ext cx="8337550" cy="23296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742950" indent="-285750">
              <a:buFont typeface="Arial"/>
              <a:buChar char="•"/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12634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3987814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40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267709" y="342729"/>
            <a:ext cx="4478019" cy="678433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57200" indent="0">
              <a:buFontTx/>
              <a:buNone/>
              <a:defRPr sz="1800">
                <a:latin typeface="Graphik Regular"/>
                <a:cs typeface="Graphik Regular"/>
              </a:defRPr>
            </a:lvl2pPr>
            <a:lvl3pPr marL="914400" indent="0">
              <a:buNone/>
              <a:defRPr sz="1800">
                <a:latin typeface="Graphik Regular"/>
                <a:cs typeface="Graphik Regular"/>
              </a:defRPr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10793" y="1151123"/>
            <a:ext cx="4734937" cy="2135147"/>
          </a:xfrm>
          <a:prstGeom prst="rect">
            <a:avLst/>
          </a:prstGeom>
        </p:spPr>
        <p:txBody>
          <a:bodyPr vert="horz"/>
          <a:lstStyle>
            <a:lvl1pPr marL="228600" indent="-228600">
              <a:spcBef>
                <a:spcPts val="0"/>
              </a:spcBef>
              <a:buFont typeface="Arial"/>
              <a:buChar char="•"/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742950" indent="-285750">
              <a:buFont typeface="Arial"/>
              <a:buChar char="•"/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0" y="3536922"/>
            <a:ext cx="9144000" cy="2197927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64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6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t>6/28/2016</a:t>
            </a:fld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17" y="1"/>
            <a:ext cx="3859161" cy="5734846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  <p:sp>
        <p:nvSpPr>
          <p:cNvPr id="18" name="Title 1"/>
          <p:cNvSpPr txBox="1">
            <a:spLocks/>
          </p:cNvSpPr>
          <p:nvPr userDrawn="1"/>
        </p:nvSpPr>
        <p:spPr>
          <a:xfrm>
            <a:off x="4043548" y="371335"/>
            <a:ext cx="4643252" cy="492012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800000"/>
                </a:solidFill>
                <a:latin typeface="Graphik Bold"/>
                <a:ea typeface="+mj-ea"/>
                <a:cs typeface="Graphik Bold"/>
              </a:defRPr>
            </a:lvl1pPr>
          </a:lstStyle>
          <a:p>
            <a:r>
              <a:rPr lang="en-US" smtClean="0"/>
              <a:t>Study Insert: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043548" y="1261810"/>
            <a:ext cx="4643252" cy="464919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57200" indent="0">
              <a:buFontTx/>
              <a:buNone/>
              <a:defRPr sz="1800">
                <a:latin typeface="Graphik Regular"/>
                <a:cs typeface="Graphik Regular"/>
              </a:defRPr>
            </a:lvl2pPr>
            <a:lvl3pPr marL="914400" indent="0">
              <a:buNone/>
              <a:defRPr sz="1800">
                <a:latin typeface="Graphik Regular"/>
                <a:cs typeface="Graphik Regular"/>
              </a:defRPr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43548" y="1968381"/>
            <a:ext cx="4651190" cy="345299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742950" indent="-285750">
              <a:buFont typeface="Arial"/>
              <a:buChar char="•"/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72860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udy_Slide_WithGrap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3987814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40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Study Inser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267709" y="342729"/>
            <a:ext cx="4478019" cy="678433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>
                <a:solidFill>
                  <a:srgbClr val="191918"/>
                </a:solidFill>
                <a:latin typeface="Graphik Bold"/>
                <a:cs typeface="Graphik Bold"/>
              </a:defRPr>
            </a:lvl1pPr>
            <a:lvl2pPr marL="457200" indent="0">
              <a:buFontTx/>
              <a:buNone/>
              <a:defRPr sz="1800">
                <a:latin typeface="Graphik Regular"/>
                <a:cs typeface="Graphik Regular"/>
              </a:defRPr>
            </a:lvl2pPr>
            <a:lvl3pPr marL="914400" indent="0">
              <a:buNone/>
              <a:defRPr sz="1800">
                <a:latin typeface="Graphik Regular"/>
                <a:cs typeface="Graphik Regular"/>
              </a:defRPr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010793" y="1151123"/>
            <a:ext cx="4734937" cy="2135147"/>
          </a:xfrm>
          <a:prstGeom prst="rect">
            <a:avLst/>
          </a:prstGeom>
        </p:spPr>
        <p:txBody>
          <a:bodyPr vert="horz"/>
          <a:lstStyle>
            <a:lvl1pPr marL="228600" indent="-228600">
              <a:spcBef>
                <a:spcPts val="0"/>
              </a:spcBef>
              <a:buFont typeface="Arial"/>
              <a:buChar char="•"/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1pPr>
            <a:lvl2pPr marL="742950" indent="-285750">
              <a:buFont typeface="Arial"/>
              <a:buChar char="•"/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2pPr>
            <a:lvl3pPr>
              <a:defRPr sz="1800">
                <a:solidFill>
                  <a:srgbClr val="191918"/>
                </a:solidFill>
                <a:latin typeface="Graphik Regular"/>
                <a:cs typeface="Graphik Regular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martArt Placeholder 4"/>
          <p:cNvSpPr>
            <a:spLocks noGrp="1"/>
          </p:cNvSpPr>
          <p:nvPr>
            <p:ph type="dgm" sz="quarter" idx="14" hasCustomPrompt="1"/>
          </p:nvPr>
        </p:nvSpPr>
        <p:spPr>
          <a:xfrm>
            <a:off x="357188" y="1151129"/>
            <a:ext cx="3487448" cy="3900013"/>
          </a:xfrm>
          <a:prstGeom prst="rect">
            <a:avLst/>
          </a:prstGeom>
        </p:spPr>
        <p:txBody>
          <a:bodyPr vert="horz"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359172" y="5338703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00" smtClean="0">
                <a:solidFill>
                  <a:srgbClr val="191918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1000" dirty="0">
              <a:solidFill>
                <a:srgbClr val="191918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2161432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_Slide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8" y="371335"/>
            <a:ext cx="8329612" cy="492012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400" baseline="0">
                <a:solidFill>
                  <a:srgbClr val="800000"/>
                </a:solidFill>
                <a:latin typeface="Graphik Bold"/>
                <a:cs typeface="Graphik Bold"/>
              </a:defRPr>
            </a:lvl1pPr>
          </a:lstStyle>
          <a:p>
            <a:r>
              <a:rPr lang="en-US" dirty="0" smtClean="0"/>
              <a:t>Click to edit: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8210521" y="5735151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7E97780-FA7F-5546-859D-7426218CB873}" type="datetime1">
              <a:rPr lang="en-US" smtClean="0"/>
              <a:pPr/>
              <a:t>6/28/2016</a:t>
            </a:fld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359172" y="5338703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00" smtClean="0">
                <a:solidFill>
                  <a:srgbClr val="191918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1000" dirty="0">
              <a:solidFill>
                <a:srgbClr val="191918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2695733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46967" y="5051742"/>
            <a:ext cx="454219" cy="438161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59172" y="5292306"/>
            <a:ext cx="4026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400" smtClean="0">
                <a:solidFill>
                  <a:srgbClr val="FFFFFF"/>
                </a:solidFill>
                <a:latin typeface="Graphik Regular"/>
                <a:cs typeface="Graphik Regular"/>
              </a:rPr>
              <a:pPr/>
              <a:t>‹Nº›</a:t>
            </a:fld>
            <a:endParaRPr lang="en-US" sz="1400" dirty="0">
              <a:solidFill>
                <a:srgbClr val="FFFFFF"/>
              </a:solidFill>
              <a:latin typeface="Graphik Regular"/>
              <a:cs typeface="Graphik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05315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ithFooter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359172" y="5292306"/>
            <a:ext cx="3962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400" smtClean="0">
                <a:solidFill>
                  <a:srgbClr val="FFFFFF"/>
                </a:solidFill>
              </a:rPr>
              <a:pPr/>
              <a:t>‹Nº›</a:t>
            </a:fld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359172" y="5338703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00" smtClean="0">
                <a:solidFill>
                  <a:srgbClr val="191918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1000" dirty="0">
              <a:solidFill>
                <a:srgbClr val="191918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1906681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4532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9144000" cy="57150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z="2600" b="0" i="0" dirty="0" smtClean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068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Footer+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-1"/>
            <a:ext cx="9144000" cy="4849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260471"/>
            <a:ext cx="5486400" cy="2270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Graphik Regular"/>
                <a:cs typeface="Graphik Regular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59172" y="5292306"/>
            <a:ext cx="3962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400" smtClean="0">
                <a:solidFill>
                  <a:srgbClr val="FFFFFF"/>
                </a:solidFill>
              </a:rPr>
              <a:pPr/>
              <a:t>‹Nº›</a:t>
            </a:fld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59172" y="5338703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91838F-4FC9-F243-94F2-BD82DEE32276}" type="slidenum">
              <a:rPr lang="en-US" sz="1000" smtClean="0">
                <a:solidFill>
                  <a:srgbClr val="191918"/>
                </a:solidFill>
                <a:latin typeface="Graphik Medium"/>
                <a:cs typeface="Graphik Medium"/>
              </a:rPr>
              <a:pPr/>
              <a:t>‹Nº›</a:t>
            </a:fld>
            <a:endParaRPr lang="en-US" sz="1000" dirty="0">
              <a:solidFill>
                <a:srgbClr val="191918"/>
              </a:solidFill>
              <a:latin typeface="Graphik Medium"/>
              <a:cs typeface="Graph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2019479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775428"/>
            <a:ext cx="7772400" cy="122502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76541-5852-4BAC-9D99-B6805199688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FA7A8-09C0-4F53-AE1F-5AFABD9F17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297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5334002"/>
            <a:ext cx="2133600" cy="304271"/>
          </a:xfrm>
        </p:spPr>
        <p:txBody>
          <a:bodyPr/>
          <a:lstStyle/>
          <a:p>
            <a:fld id="{F3276541-5852-4BAC-9D99-B6805199688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5334002"/>
            <a:ext cx="2133600" cy="304271"/>
          </a:xfrm>
        </p:spPr>
        <p:txBody>
          <a:bodyPr/>
          <a:lstStyle/>
          <a:p>
            <a:fld id="{9CDFA7A8-09C0-4F53-AE1F-5AFABD9F17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262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672480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76541-5852-4BAC-9D99-B6805199688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FA7A8-09C0-4F53-AE1F-5AFABD9F17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8686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slideLayout" Target="../slideLayouts/slideLayout153.xml"/><Relationship Id="rId3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47.xml"/><Relationship Id="rId12" Type="http://schemas.openxmlformats.org/officeDocument/2006/relationships/slideLayout" Target="../slideLayouts/slideLayout152.xml"/><Relationship Id="rId17" Type="http://schemas.openxmlformats.org/officeDocument/2006/relationships/theme" Target="../theme/theme10.xml"/><Relationship Id="rId2" Type="http://schemas.openxmlformats.org/officeDocument/2006/relationships/slideLayout" Target="../slideLayouts/slideLayout142.xml"/><Relationship Id="rId16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45.xml"/><Relationship Id="rId15" Type="http://schemas.openxmlformats.org/officeDocument/2006/relationships/slideLayout" Target="../slideLayouts/slideLayout155.xml"/><Relationship Id="rId10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slideLayout" Target="../slideLayouts/slideLayout15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.xml"/><Relationship Id="rId13" Type="http://schemas.openxmlformats.org/officeDocument/2006/relationships/slideLayout" Target="../slideLayouts/slideLayout169.xml"/><Relationship Id="rId3" Type="http://schemas.openxmlformats.org/officeDocument/2006/relationships/slideLayout" Target="../slideLayouts/slideLayout159.xml"/><Relationship Id="rId7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168.xml"/><Relationship Id="rId17" Type="http://schemas.openxmlformats.org/officeDocument/2006/relationships/theme" Target="../theme/theme11.xml"/><Relationship Id="rId2" Type="http://schemas.openxmlformats.org/officeDocument/2006/relationships/slideLayout" Target="../slideLayouts/slideLayout158.xml"/><Relationship Id="rId16" Type="http://schemas.openxmlformats.org/officeDocument/2006/relationships/slideLayout" Target="../slideLayouts/slideLayout172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5" Type="http://schemas.openxmlformats.org/officeDocument/2006/relationships/slideLayout" Target="../slideLayouts/slideLayout161.xml"/><Relationship Id="rId15" Type="http://schemas.openxmlformats.org/officeDocument/2006/relationships/slideLayout" Target="../slideLayouts/slideLayout171.xml"/><Relationship Id="rId10" Type="http://schemas.openxmlformats.org/officeDocument/2006/relationships/slideLayout" Target="../slideLayouts/slideLayout166.xml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Relationship Id="rId14" Type="http://schemas.openxmlformats.org/officeDocument/2006/relationships/slideLayout" Target="../slideLayouts/slideLayout17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13" Type="http://schemas.openxmlformats.org/officeDocument/2006/relationships/slideLayout" Target="../slideLayouts/slideLayout185.xml"/><Relationship Id="rId3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79.xml"/><Relationship Id="rId12" Type="http://schemas.openxmlformats.org/officeDocument/2006/relationships/slideLayout" Target="../slideLayouts/slideLayout184.xml"/><Relationship Id="rId17" Type="http://schemas.openxmlformats.org/officeDocument/2006/relationships/theme" Target="../theme/theme12.xml"/><Relationship Id="rId2" Type="http://schemas.openxmlformats.org/officeDocument/2006/relationships/slideLayout" Target="../slideLayouts/slideLayout174.xml"/><Relationship Id="rId16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slideLayout" Target="../slideLayouts/slideLayout183.xml"/><Relationship Id="rId5" Type="http://schemas.openxmlformats.org/officeDocument/2006/relationships/slideLayout" Target="../slideLayouts/slideLayout177.xml"/><Relationship Id="rId15" Type="http://schemas.openxmlformats.org/officeDocument/2006/relationships/slideLayout" Target="../slideLayouts/slideLayout187.xml"/><Relationship Id="rId10" Type="http://schemas.openxmlformats.org/officeDocument/2006/relationships/slideLayout" Target="../slideLayouts/slideLayout182.xml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Relationship Id="rId14" Type="http://schemas.openxmlformats.org/officeDocument/2006/relationships/slideLayout" Target="../slideLayouts/slideLayout18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6.xml"/><Relationship Id="rId13" Type="http://schemas.openxmlformats.org/officeDocument/2006/relationships/slideLayout" Target="../slideLayouts/slideLayout201.xml"/><Relationship Id="rId3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5.xml"/><Relationship Id="rId12" Type="http://schemas.openxmlformats.org/officeDocument/2006/relationships/slideLayout" Target="../slideLayouts/slideLayout200.xml"/><Relationship Id="rId17" Type="http://schemas.openxmlformats.org/officeDocument/2006/relationships/theme" Target="../theme/theme13.xml"/><Relationship Id="rId2" Type="http://schemas.openxmlformats.org/officeDocument/2006/relationships/slideLayout" Target="../slideLayouts/slideLayout190.xml"/><Relationship Id="rId16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93.xml"/><Relationship Id="rId15" Type="http://schemas.openxmlformats.org/officeDocument/2006/relationships/slideLayout" Target="../slideLayouts/slideLayout203.xml"/><Relationship Id="rId10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Relationship Id="rId14" Type="http://schemas.openxmlformats.org/officeDocument/2006/relationships/slideLayout" Target="../slideLayouts/slideLayout202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2.xml"/><Relationship Id="rId13" Type="http://schemas.openxmlformats.org/officeDocument/2006/relationships/slideLayout" Target="../slideLayouts/slideLayout217.xml"/><Relationship Id="rId3" Type="http://schemas.openxmlformats.org/officeDocument/2006/relationships/slideLayout" Target="../slideLayouts/slideLayout207.xml"/><Relationship Id="rId7" Type="http://schemas.openxmlformats.org/officeDocument/2006/relationships/slideLayout" Target="../slideLayouts/slideLayout211.xml"/><Relationship Id="rId12" Type="http://schemas.openxmlformats.org/officeDocument/2006/relationships/slideLayout" Target="../slideLayouts/slideLayout216.xml"/><Relationship Id="rId17" Type="http://schemas.openxmlformats.org/officeDocument/2006/relationships/theme" Target="../theme/theme14.xml"/><Relationship Id="rId2" Type="http://schemas.openxmlformats.org/officeDocument/2006/relationships/slideLayout" Target="../slideLayouts/slideLayout206.xml"/><Relationship Id="rId16" Type="http://schemas.openxmlformats.org/officeDocument/2006/relationships/slideLayout" Target="../slideLayouts/slideLayout220.xml"/><Relationship Id="rId1" Type="http://schemas.openxmlformats.org/officeDocument/2006/relationships/slideLayout" Target="../slideLayouts/slideLayout205.xml"/><Relationship Id="rId6" Type="http://schemas.openxmlformats.org/officeDocument/2006/relationships/slideLayout" Target="../slideLayouts/slideLayout210.xml"/><Relationship Id="rId11" Type="http://schemas.openxmlformats.org/officeDocument/2006/relationships/slideLayout" Target="../slideLayouts/slideLayout215.xml"/><Relationship Id="rId5" Type="http://schemas.openxmlformats.org/officeDocument/2006/relationships/slideLayout" Target="../slideLayouts/slideLayout209.xml"/><Relationship Id="rId15" Type="http://schemas.openxmlformats.org/officeDocument/2006/relationships/slideLayout" Target="../slideLayouts/slideLayout219.xml"/><Relationship Id="rId10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208.xml"/><Relationship Id="rId9" Type="http://schemas.openxmlformats.org/officeDocument/2006/relationships/slideLayout" Target="../slideLayouts/slideLayout213.xml"/><Relationship Id="rId14" Type="http://schemas.openxmlformats.org/officeDocument/2006/relationships/slideLayout" Target="../slideLayouts/slideLayout218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8.xml"/><Relationship Id="rId13" Type="http://schemas.openxmlformats.org/officeDocument/2006/relationships/slideLayout" Target="../slideLayouts/slideLayout233.xml"/><Relationship Id="rId3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227.xml"/><Relationship Id="rId12" Type="http://schemas.openxmlformats.org/officeDocument/2006/relationships/slideLayout" Target="../slideLayouts/slideLayout232.xml"/><Relationship Id="rId17" Type="http://schemas.openxmlformats.org/officeDocument/2006/relationships/theme" Target="../theme/theme15.xml"/><Relationship Id="rId2" Type="http://schemas.openxmlformats.org/officeDocument/2006/relationships/slideLayout" Target="../slideLayouts/slideLayout222.xml"/><Relationship Id="rId16" Type="http://schemas.openxmlformats.org/officeDocument/2006/relationships/slideLayout" Target="../slideLayouts/slideLayout236.xml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1" Type="http://schemas.openxmlformats.org/officeDocument/2006/relationships/slideLayout" Target="../slideLayouts/slideLayout231.xml"/><Relationship Id="rId5" Type="http://schemas.openxmlformats.org/officeDocument/2006/relationships/slideLayout" Target="../slideLayouts/slideLayout225.xml"/><Relationship Id="rId15" Type="http://schemas.openxmlformats.org/officeDocument/2006/relationships/slideLayout" Target="../slideLayouts/slideLayout235.xml"/><Relationship Id="rId10" Type="http://schemas.openxmlformats.org/officeDocument/2006/relationships/slideLayout" Target="../slideLayouts/slideLayout230.xml"/><Relationship Id="rId4" Type="http://schemas.openxmlformats.org/officeDocument/2006/relationships/slideLayout" Target="../slideLayouts/slideLayout224.xml"/><Relationship Id="rId9" Type="http://schemas.openxmlformats.org/officeDocument/2006/relationships/slideLayout" Target="../slideLayouts/slideLayout229.xml"/><Relationship Id="rId14" Type="http://schemas.openxmlformats.org/officeDocument/2006/relationships/slideLayout" Target="../slideLayouts/slideLayout234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4.xml"/><Relationship Id="rId3" Type="http://schemas.openxmlformats.org/officeDocument/2006/relationships/slideLayout" Target="../slideLayouts/slideLayout239.xml"/><Relationship Id="rId7" Type="http://schemas.openxmlformats.org/officeDocument/2006/relationships/slideLayout" Target="../slideLayouts/slideLayout243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238.xml"/><Relationship Id="rId1" Type="http://schemas.openxmlformats.org/officeDocument/2006/relationships/slideLayout" Target="../slideLayouts/slideLayout237.xml"/><Relationship Id="rId6" Type="http://schemas.openxmlformats.org/officeDocument/2006/relationships/slideLayout" Target="../slideLayouts/slideLayout242.xml"/><Relationship Id="rId11" Type="http://schemas.openxmlformats.org/officeDocument/2006/relationships/slideLayout" Target="../slideLayouts/slideLayout247.xml"/><Relationship Id="rId5" Type="http://schemas.openxmlformats.org/officeDocument/2006/relationships/slideLayout" Target="../slideLayouts/slideLayout241.xml"/><Relationship Id="rId10" Type="http://schemas.openxmlformats.org/officeDocument/2006/relationships/slideLayout" Target="../slideLayouts/slideLayout246.xml"/><Relationship Id="rId4" Type="http://schemas.openxmlformats.org/officeDocument/2006/relationships/slideLayout" Target="../slideLayouts/slideLayout240.xml"/><Relationship Id="rId9" Type="http://schemas.openxmlformats.org/officeDocument/2006/relationships/slideLayout" Target="../slideLayouts/slideLayout24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9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56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oleObject" Target="../embeddings/oleObject1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98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vmlDrawing" Target="../drawings/vmlDrawing2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110.xml"/><Relationship Id="rId16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5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slideLayout" Target="../slideLayouts/slideLayout136.xml"/><Relationship Id="rId17" Type="http://schemas.openxmlformats.org/officeDocument/2006/relationships/theme" Target="../theme/theme9.xml"/><Relationship Id="rId2" Type="http://schemas.openxmlformats.org/officeDocument/2006/relationships/slideLayout" Target="../slideLayouts/slideLayout126.xml"/><Relationship Id="rId16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5" Type="http://schemas.openxmlformats.org/officeDocument/2006/relationships/slideLayout" Target="../slideLayouts/slideLayout139.xml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slideLayout" Target="../slideLayouts/slideLayout1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7008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4" r:id="rId2"/>
    <p:sldLayoutId id="2147483673" r:id="rId3"/>
    <p:sldLayoutId id="2147483675" r:id="rId4"/>
    <p:sldLayoutId id="2147483662" r:id="rId5"/>
    <p:sldLayoutId id="2147483664" r:id="rId6"/>
    <p:sldLayoutId id="2147483684" r:id="rId7"/>
    <p:sldLayoutId id="2147483678" r:id="rId8"/>
    <p:sldLayoutId id="2147483681" r:id="rId9"/>
    <p:sldLayoutId id="2147483682" r:id="rId10"/>
    <p:sldLayoutId id="2147483680" r:id="rId11"/>
    <p:sldLayoutId id="2147483667" r:id="rId12"/>
    <p:sldLayoutId id="2147483677" r:id="rId13"/>
    <p:sldLayoutId id="2147483676" r:id="rId14"/>
    <p:sldLayoutId id="2147483683" r:id="rId15"/>
    <p:sldLayoutId id="2147483669" r:id="rId16"/>
    <p:sldLayoutId id="2147483685" r:id="rId17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0589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  <p:sldLayoutId id="2147483868" r:id="rId11"/>
    <p:sldLayoutId id="2147483869" r:id="rId12"/>
    <p:sldLayoutId id="2147483870" r:id="rId13"/>
    <p:sldLayoutId id="2147483871" r:id="rId14"/>
    <p:sldLayoutId id="2147483872" r:id="rId15"/>
    <p:sldLayoutId id="2147483873" r:id="rId16"/>
  </p:sldLayoutIdLst>
  <p:hf hdr="0" ftr="0" dt="0"/>
  <p:txStyles>
    <p:titleStyle>
      <a:lvl1pPr algn="ctr" defTabSz="411480" rtl="0" eaLnBrk="1" latinLnBrk="0" hangingPunct="1">
        <a:spcBef>
          <a:spcPct val="0"/>
        </a:spcBef>
        <a:buNone/>
        <a:defRPr sz="39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8610" indent="-308610" algn="l" defTabSz="411480" rtl="0" eaLnBrk="1" latinLnBrk="0" hangingPunct="1">
        <a:spcBef>
          <a:spcPct val="20000"/>
        </a:spcBef>
        <a:buFont typeface="Arial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1pPr>
      <a:lvl2pPr marL="668655" indent="-257175" algn="l" defTabSz="411480" rtl="0" eaLnBrk="1" latinLnBrk="0" hangingPunct="1">
        <a:spcBef>
          <a:spcPct val="20000"/>
        </a:spcBef>
        <a:buFont typeface="Arial"/>
        <a:buChar char="–"/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indent="-205740" algn="l" defTabSz="411480" rtl="0" eaLnBrk="1" latinLnBrk="0" hangingPunct="1">
        <a:spcBef>
          <a:spcPct val="20000"/>
        </a:spcBef>
        <a:buFont typeface="Arial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80" indent="-205740" algn="l" defTabSz="41148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1660" indent="-205740" algn="l" defTabSz="411480" rtl="0" eaLnBrk="1" latinLnBrk="0" hangingPunct="1">
        <a:spcBef>
          <a:spcPct val="20000"/>
        </a:spcBef>
        <a:buFont typeface="Arial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314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2667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  <p:sldLayoutId id="2147483881" r:id="rId7"/>
    <p:sldLayoutId id="2147483882" r:id="rId8"/>
    <p:sldLayoutId id="2147483883" r:id="rId9"/>
    <p:sldLayoutId id="2147483884" r:id="rId10"/>
    <p:sldLayoutId id="2147483885" r:id="rId11"/>
    <p:sldLayoutId id="2147483886" r:id="rId12"/>
    <p:sldLayoutId id="2147483887" r:id="rId13"/>
    <p:sldLayoutId id="2147483888" r:id="rId14"/>
    <p:sldLayoutId id="2147483889" r:id="rId15"/>
    <p:sldLayoutId id="2147483890" r:id="rId16"/>
  </p:sldLayoutIdLst>
  <p:hf hdr="0" ftr="0" dt="0"/>
  <p:txStyles>
    <p:titleStyle>
      <a:lvl1pPr algn="ctr" defTabSz="411480" rtl="0" eaLnBrk="1" latinLnBrk="0" hangingPunct="1">
        <a:spcBef>
          <a:spcPct val="0"/>
        </a:spcBef>
        <a:buNone/>
        <a:defRPr sz="39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8610" indent="-308610" algn="l" defTabSz="411480" rtl="0" eaLnBrk="1" latinLnBrk="0" hangingPunct="1">
        <a:spcBef>
          <a:spcPct val="20000"/>
        </a:spcBef>
        <a:buFont typeface="Arial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1pPr>
      <a:lvl2pPr marL="668655" indent="-257175" algn="l" defTabSz="411480" rtl="0" eaLnBrk="1" latinLnBrk="0" hangingPunct="1">
        <a:spcBef>
          <a:spcPct val="20000"/>
        </a:spcBef>
        <a:buFont typeface="Arial"/>
        <a:buChar char="–"/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indent="-205740" algn="l" defTabSz="411480" rtl="0" eaLnBrk="1" latinLnBrk="0" hangingPunct="1">
        <a:spcBef>
          <a:spcPct val="20000"/>
        </a:spcBef>
        <a:buFont typeface="Arial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80" indent="-205740" algn="l" defTabSz="41148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1660" indent="-205740" algn="l" defTabSz="411480" rtl="0" eaLnBrk="1" latinLnBrk="0" hangingPunct="1">
        <a:spcBef>
          <a:spcPct val="20000"/>
        </a:spcBef>
        <a:buFont typeface="Arial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314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065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899" r:id="rId8"/>
    <p:sldLayoutId id="2147483900" r:id="rId9"/>
    <p:sldLayoutId id="2147483901" r:id="rId10"/>
    <p:sldLayoutId id="2147483902" r:id="rId11"/>
    <p:sldLayoutId id="2147483903" r:id="rId12"/>
    <p:sldLayoutId id="2147483904" r:id="rId13"/>
    <p:sldLayoutId id="2147483905" r:id="rId14"/>
    <p:sldLayoutId id="2147483906" r:id="rId15"/>
    <p:sldLayoutId id="2147483907" r:id="rId16"/>
  </p:sldLayoutIdLst>
  <p:hf hdr="0" ftr="0" dt="0"/>
  <p:txStyles>
    <p:titleStyle>
      <a:lvl1pPr algn="ctr" defTabSz="411480" rtl="0" eaLnBrk="1" latinLnBrk="0" hangingPunct="1">
        <a:spcBef>
          <a:spcPct val="0"/>
        </a:spcBef>
        <a:buNone/>
        <a:defRPr sz="39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8610" indent="-308610" algn="l" defTabSz="411480" rtl="0" eaLnBrk="1" latinLnBrk="0" hangingPunct="1">
        <a:spcBef>
          <a:spcPct val="20000"/>
        </a:spcBef>
        <a:buFont typeface="Arial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1pPr>
      <a:lvl2pPr marL="668655" indent="-257175" algn="l" defTabSz="411480" rtl="0" eaLnBrk="1" latinLnBrk="0" hangingPunct="1">
        <a:spcBef>
          <a:spcPct val="20000"/>
        </a:spcBef>
        <a:buFont typeface="Arial"/>
        <a:buChar char="–"/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indent="-205740" algn="l" defTabSz="411480" rtl="0" eaLnBrk="1" latinLnBrk="0" hangingPunct="1">
        <a:spcBef>
          <a:spcPct val="20000"/>
        </a:spcBef>
        <a:buFont typeface="Arial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80" indent="-205740" algn="l" defTabSz="41148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1660" indent="-205740" algn="l" defTabSz="411480" rtl="0" eaLnBrk="1" latinLnBrk="0" hangingPunct="1">
        <a:spcBef>
          <a:spcPct val="20000"/>
        </a:spcBef>
        <a:buFont typeface="Arial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314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2097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  <p:sldLayoutId id="2147483920" r:id="rId12"/>
    <p:sldLayoutId id="2147483921" r:id="rId13"/>
    <p:sldLayoutId id="2147483922" r:id="rId14"/>
    <p:sldLayoutId id="2147483923" r:id="rId15"/>
    <p:sldLayoutId id="2147483924" r:id="rId16"/>
  </p:sldLayoutIdLst>
  <p:hf hdr="0" ftr="0" dt="0"/>
  <p:txStyles>
    <p:titleStyle>
      <a:lvl1pPr algn="ctr" defTabSz="411480" rtl="0" eaLnBrk="1" latinLnBrk="0" hangingPunct="1">
        <a:spcBef>
          <a:spcPct val="0"/>
        </a:spcBef>
        <a:buNone/>
        <a:defRPr sz="39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8610" indent="-308610" algn="l" defTabSz="411480" rtl="0" eaLnBrk="1" latinLnBrk="0" hangingPunct="1">
        <a:spcBef>
          <a:spcPct val="20000"/>
        </a:spcBef>
        <a:buFont typeface="Arial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1pPr>
      <a:lvl2pPr marL="668655" indent="-257175" algn="l" defTabSz="411480" rtl="0" eaLnBrk="1" latinLnBrk="0" hangingPunct="1">
        <a:spcBef>
          <a:spcPct val="20000"/>
        </a:spcBef>
        <a:buFont typeface="Arial"/>
        <a:buChar char="–"/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indent="-205740" algn="l" defTabSz="411480" rtl="0" eaLnBrk="1" latinLnBrk="0" hangingPunct="1">
        <a:spcBef>
          <a:spcPct val="20000"/>
        </a:spcBef>
        <a:buFont typeface="Arial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80" indent="-205740" algn="l" defTabSz="41148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1660" indent="-205740" algn="l" defTabSz="411480" rtl="0" eaLnBrk="1" latinLnBrk="0" hangingPunct="1">
        <a:spcBef>
          <a:spcPct val="20000"/>
        </a:spcBef>
        <a:buFont typeface="Arial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314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0643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  <p:sldLayoutId id="2147483937" r:id="rId12"/>
    <p:sldLayoutId id="2147483938" r:id="rId13"/>
    <p:sldLayoutId id="2147483939" r:id="rId14"/>
    <p:sldLayoutId id="2147483940" r:id="rId15"/>
    <p:sldLayoutId id="2147483941" r:id="rId16"/>
  </p:sldLayoutIdLst>
  <p:hf hdr="0" ftr="0" dt="0"/>
  <p:txStyles>
    <p:titleStyle>
      <a:lvl1pPr algn="ctr" defTabSz="411480" rtl="0" eaLnBrk="1" latinLnBrk="0" hangingPunct="1">
        <a:spcBef>
          <a:spcPct val="0"/>
        </a:spcBef>
        <a:buNone/>
        <a:defRPr sz="39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8610" indent="-308610" algn="l" defTabSz="411480" rtl="0" eaLnBrk="1" latinLnBrk="0" hangingPunct="1">
        <a:spcBef>
          <a:spcPct val="20000"/>
        </a:spcBef>
        <a:buFont typeface="Arial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1pPr>
      <a:lvl2pPr marL="668655" indent="-257175" algn="l" defTabSz="411480" rtl="0" eaLnBrk="1" latinLnBrk="0" hangingPunct="1">
        <a:spcBef>
          <a:spcPct val="20000"/>
        </a:spcBef>
        <a:buFont typeface="Arial"/>
        <a:buChar char="–"/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indent="-205740" algn="l" defTabSz="411480" rtl="0" eaLnBrk="1" latinLnBrk="0" hangingPunct="1">
        <a:spcBef>
          <a:spcPct val="20000"/>
        </a:spcBef>
        <a:buFont typeface="Arial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80" indent="-205740" algn="l" defTabSz="41148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1660" indent="-205740" algn="l" defTabSz="411480" rtl="0" eaLnBrk="1" latinLnBrk="0" hangingPunct="1">
        <a:spcBef>
          <a:spcPct val="20000"/>
        </a:spcBef>
        <a:buFont typeface="Arial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314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7188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  <p:sldLayoutId id="2147483951" r:id="rId9"/>
    <p:sldLayoutId id="2147483952" r:id="rId10"/>
    <p:sldLayoutId id="2147483953" r:id="rId11"/>
    <p:sldLayoutId id="2147483954" r:id="rId12"/>
    <p:sldLayoutId id="2147483955" r:id="rId13"/>
    <p:sldLayoutId id="2147483956" r:id="rId14"/>
    <p:sldLayoutId id="2147483957" r:id="rId15"/>
    <p:sldLayoutId id="2147483958" r:id="rId16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952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33500"/>
            <a:ext cx="8229600" cy="37716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39748C33-847F-42F5-8E6D-635742C49D9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284CCDF7-5247-4C71-8D68-77AED846057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417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  <p:sldLayoutId id="2147483970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90505"/>
            <a:ext cx="8229600" cy="9498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333501"/>
            <a:ext cx="8229600" cy="37756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5203033"/>
            <a:ext cx="2133600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u="none">
                <a:latin typeface="Garamond" pitchFamily="18" charset="0"/>
              </a:defRPr>
            </a:lvl1pPr>
          </a:lstStyle>
          <a:p>
            <a:pPr defTabSz="914400"/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5207000"/>
            <a:ext cx="2895600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200" u="none">
                <a:latin typeface="Garamond" pitchFamily="18" charset="0"/>
              </a:defRPr>
            </a:lvl1pPr>
          </a:lstStyle>
          <a:p>
            <a:pPr defTabSz="914400"/>
            <a:endParaRPr lang="en-US" altLang="en-US">
              <a:solidFill>
                <a:srgbClr val="CCCCFF"/>
              </a:solidFill>
            </a:endParaRP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5203033"/>
            <a:ext cx="2133600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u="none">
                <a:latin typeface="Garamond" pitchFamily="18" charset="0"/>
              </a:defRPr>
            </a:lvl1pPr>
          </a:lstStyle>
          <a:p>
            <a:pPr defTabSz="914400"/>
            <a:fld id="{981C747C-DB3F-4707-8605-D3FA869BB21B}" type="slidenum">
              <a:rPr lang="en-US" altLang="en-US">
                <a:solidFill>
                  <a:srgbClr val="CCCCFF"/>
                </a:solidFill>
              </a:rPr>
              <a:pPr defTabSz="914400"/>
              <a:t>‹Nº›</a:t>
            </a:fld>
            <a:endParaRPr lang="en-US" altLang="en-US">
              <a:solidFill>
                <a:srgbClr val="CC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2708155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</p:sldLayoutIdLst>
  <p:transition>
    <p:fade thruBlk="1"/>
  </p:transition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Century Gothic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Century Gothic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Century Gothic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Century Gothic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Century Gothic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Century Gothic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Century Gothic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Century Gothic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defRPr sz="3000">
          <a:solidFill>
            <a:srgbClr val="FAFAFA"/>
          </a:solidFill>
          <a:latin typeface="+mn-lt"/>
          <a:ea typeface="+mn-ea"/>
          <a:cs typeface="+mn-cs"/>
        </a:defRPr>
      </a:lvl1pPr>
      <a:lvl2pPr marL="669925" indent="-325438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defRPr sz="2600">
          <a:solidFill>
            <a:srgbClr val="FAFAFA"/>
          </a:solidFill>
          <a:latin typeface="+mn-lt"/>
        </a:defRPr>
      </a:lvl2pPr>
      <a:lvl3pPr marL="1022350" indent="-350838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defRPr sz="2200">
          <a:solidFill>
            <a:srgbClr val="FAFAFA"/>
          </a:solidFill>
          <a:latin typeface="+mn-lt"/>
        </a:defRPr>
      </a:lvl3pPr>
      <a:lvl4pPr marL="1339850" indent="-315913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defRPr sz="2000">
          <a:solidFill>
            <a:srgbClr val="FAFAFA"/>
          </a:solidFill>
          <a:latin typeface="+mn-lt"/>
        </a:defRPr>
      </a:lvl4pPr>
      <a:lvl5pPr marL="16811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defRPr sz="2000">
          <a:solidFill>
            <a:srgbClr val="FAFAFA"/>
          </a:solidFill>
          <a:latin typeface="+mn-lt"/>
        </a:defRPr>
      </a:lvl5pPr>
      <a:lvl6pPr marL="21383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defRPr sz="2000">
          <a:solidFill>
            <a:srgbClr val="FAFAFA"/>
          </a:solidFill>
          <a:latin typeface="+mn-lt"/>
        </a:defRPr>
      </a:lvl6pPr>
      <a:lvl7pPr marL="25955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defRPr sz="2000">
          <a:solidFill>
            <a:srgbClr val="FAFAFA"/>
          </a:solidFill>
          <a:latin typeface="+mn-lt"/>
        </a:defRPr>
      </a:lvl7pPr>
      <a:lvl8pPr marL="30527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defRPr sz="2000">
          <a:solidFill>
            <a:srgbClr val="FAFAFA"/>
          </a:solidFill>
          <a:latin typeface="+mn-lt"/>
        </a:defRPr>
      </a:lvl8pPr>
      <a:lvl9pPr marL="35099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defRPr sz="2000">
          <a:solidFill>
            <a:srgbClr val="FAFAFA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8541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11480" rtl="0" eaLnBrk="1" latinLnBrk="0" hangingPunct="1">
        <a:spcBef>
          <a:spcPct val="0"/>
        </a:spcBef>
        <a:buNone/>
        <a:defRPr sz="39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8610" indent="-308610" algn="l" defTabSz="411480" rtl="0" eaLnBrk="1" latinLnBrk="0" hangingPunct="1">
        <a:spcBef>
          <a:spcPct val="20000"/>
        </a:spcBef>
        <a:buFont typeface="Arial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1pPr>
      <a:lvl2pPr marL="668655" indent="-257175" algn="l" defTabSz="411480" rtl="0" eaLnBrk="1" latinLnBrk="0" hangingPunct="1">
        <a:spcBef>
          <a:spcPct val="20000"/>
        </a:spcBef>
        <a:buFont typeface="Arial"/>
        <a:buChar char="–"/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indent="-205740" algn="l" defTabSz="411480" rtl="0" eaLnBrk="1" latinLnBrk="0" hangingPunct="1">
        <a:spcBef>
          <a:spcPct val="20000"/>
        </a:spcBef>
        <a:buFont typeface="Arial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80" indent="-205740" algn="l" defTabSz="41148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1660" indent="-205740" algn="l" defTabSz="411480" rtl="0" eaLnBrk="1" latinLnBrk="0" hangingPunct="1">
        <a:spcBef>
          <a:spcPct val="20000"/>
        </a:spcBef>
        <a:buFont typeface="Arial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314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1591" y="1325"/>
          <a:ext cx="1587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9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91" y="1325"/>
                        <a:ext cx="1587" cy="13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84613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  <p:sldLayoutId id="2147483771" r:id="rId14"/>
    <p:sldLayoutId id="2147483772" r:id="rId15"/>
    <p:sldLayoutId id="2147483773" r:id="rId16"/>
    <p:sldLayoutId id="2147483774" r:id="rId17"/>
    <p:sldLayoutId id="2147483775" r:id="rId18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4032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88" r:id="rId12"/>
    <p:sldLayoutId id="2147483789" r:id="rId13"/>
    <p:sldLayoutId id="2147483790" r:id="rId14"/>
    <p:sldLayoutId id="2147483791" r:id="rId15"/>
    <p:sldLayoutId id="2147483792" r:id="rId16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439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5" r:id="rId12"/>
    <p:sldLayoutId id="2147483806" r:id="rId13"/>
    <p:sldLayoutId id="2147483807" r:id="rId14"/>
    <p:sldLayoutId id="2147483808" r:id="rId15"/>
    <p:sldLayoutId id="2147483809" r:id="rId16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91" y="1338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338"/>
                        <a:ext cx="1587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866"/>
            <a:ext cx="8229600" cy="952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33500"/>
            <a:ext cx="8229600" cy="37716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5296961"/>
            <a:ext cx="2133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F3276541-5852-4BAC-9D99-B6805199688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6/2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5296961"/>
            <a:ext cx="2895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5296961"/>
            <a:ext cx="2133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9CDFA7A8-09C0-4F53-AE1F-5AFABD9F17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8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1936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  <p:sldLayoutId id="2147483833" r:id="rId10"/>
    <p:sldLayoutId id="2147483834" r:id="rId11"/>
    <p:sldLayoutId id="2147483835" r:id="rId12"/>
    <p:sldLayoutId id="2147483836" r:id="rId13"/>
    <p:sldLayoutId id="2147483837" r:id="rId14"/>
    <p:sldLayoutId id="2147483838" r:id="rId15"/>
    <p:sldLayoutId id="2147483839" r:id="rId16"/>
  </p:sldLayoutIdLst>
  <p:hf hdr="0" ftr="0" dt="0"/>
  <p:txStyles>
    <p:titleStyle>
      <a:lvl1pPr algn="ctr" defTabSz="411480" rtl="0" eaLnBrk="1" latinLnBrk="0" hangingPunct="1">
        <a:spcBef>
          <a:spcPct val="0"/>
        </a:spcBef>
        <a:buNone/>
        <a:defRPr sz="39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8610" indent="-308610" algn="l" defTabSz="411480" rtl="0" eaLnBrk="1" latinLnBrk="0" hangingPunct="1">
        <a:spcBef>
          <a:spcPct val="20000"/>
        </a:spcBef>
        <a:buFont typeface="Arial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1pPr>
      <a:lvl2pPr marL="668655" indent="-257175" algn="l" defTabSz="411480" rtl="0" eaLnBrk="1" latinLnBrk="0" hangingPunct="1">
        <a:spcBef>
          <a:spcPct val="20000"/>
        </a:spcBef>
        <a:buFont typeface="Arial"/>
        <a:buChar char="–"/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indent="-205740" algn="l" defTabSz="411480" rtl="0" eaLnBrk="1" latinLnBrk="0" hangingPunct="1">
        <a:spcBef>
          <a:spcPct val="20000"/>
        </a:spcBef>
        <a:buFont typeface="Arial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80" indent="-205740" algn="l" defTabSz="41148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1660" indent="-205740" algn="l" defTabSz="411480" rtl="0" eaLnBrk="1" latinLnBrk="0" hangingPunct="1">
        <a:spcBef>
          <a:spcPct val="20000"/>
        </a:spcBef>
        <a:buFont typeface="Arial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314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9831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3" r:id="rId13"/>
    <p:sldLayoutId id="2147483854" r:id="rId14"/>
    <p:sldLayoutId id="2147483855" r:id="rId15"/>
    <p:sldLayoutId id="2147483856" r:id="rId16"/>
  </p:sldLayoutIdLst>
  <p:hf hdr="0" ftr="0" dt="0"/>
  <p:txStyles>
    <p:titleStyle>
      <a:lvl1pPr algn="ctr" defTabSz="411480" rtl="0" eaLnBrk="1" latinLnBrk="0" hangingPunct="1">
        <a:spcBef>
          <a:spcPct val="0"/>
        </a:spcBef>
        <a:buNone/>
        <a:defRPr sz="39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8610" indent="-308610" algn="l" defTabSz="411480" rtl="0" eaLnBrk="1" latinLnBrk="0" hangingPunct="1">
        <a:spcBef>
          <a:spcPct val="20000"/>
        </a:spcBef>
        <a:buFont typeface="Arial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1pPr>
      <a:lvl2pPr marL="668655" indent="-257175" algn="l" defTabSz="411480" rtl="0" eaLnBrk="1" latinLnBrk="0" hangingPunct="1">
        <a:spcBef>
          <a:spcPct val="20000"/>
        </a:spcBef>
        <a:buFont typeface="Arial"/>
        <a:buChar char="–"/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indent="-205740" algn="l" defTabSz="411480" rtl="0" eaLnBrk="1" latinLnBrk="0" hangingPunct="1">
        <a:spcBef>
          <a:spcPct val="20000"/>
        </a:spcBef>
        <a:buFont typeface="Arial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80" indent="-205740" algn="l" defTabSz="41148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1660" indent="-205740" algn="l" defTabSz="411480" rtl="0" eaLnBrk="1" latinLnBrk="0" hangingPunct="1">
        <a:spcBef>
          <a:spcPct val="20000"/>
        </a:spcBef>
        <a:buFont typeface="Arial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314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wmf"/><Relationship Id="rId3" Type="http://schemas.openxmlformats.org/officeDocument/2006/relationships/image" Target="../media/image10.jpeg"/><Relationship Id="rId7" Type="http://schemas.openxmlformats.org/officeDocument/2006/relationships/image" Target="../media/image14.w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3.xml"/><Relationship Id="rId6" Type="http://schemas.openxmlformats.org/officeDocument/2006/relationships/image" Target="../media/image13.wmf"/><Relationship Id="rId5" Type="http://schemas.openxmlformats.org/officeDocument/2006/relationships/image" Target="../media/image12.wmf"/><Relationship Id="rId4" Type="http://schemas.openxmlformats.org/officeDocument/2006/relationships/image" Target="../media/image11.wmf"/><Relationship Id="rId9" Type="http://schemas.openxmlformats.org/officeDocument/2006/relationships/image" Target="../media/image16.w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wmf"/><Relationship Id="rId7" Type="http://schemas.openxmlformats.org/officeDocument/2006/relationships/image" Target="../media/image24.w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1.xml"/><Relationship Id="rId6" Type="http://schemas.openxmlformats.org/officeDocument/2006/relationships/image" Target="../media/image23.wmf"/><Relationship Id="rId5" Type="http://schemas.openxmlformats.org/officeDocument/2006/relationships/image" Target="../media/image22.wmf"/><Relationship Id="rId4" Type="http://schemas.openxmlformats.org/officeDocument/2006/relationships/image" Target="../media/image21.w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Relationship Id="rId4" Type="http://schemas.microsoft.com/office/2007/relationships/hdphoto" Target="../media/hdphoto1.wdp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2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3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.emf"/><Relationship Id="rId4" Type="http://schemas.microsoft.com/office/2007/relationships/hdphoto" Target="../media/hdphoto2.wdp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.emf"/><Relationship Id="rId4" Type="http://schemas.microsoft.com/office/2007/relationships/hdphoto" Target="../media/hdphoto2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9.xml"/><Relationship Id="rId4" Type="http://schemas.openxmlformats.org/officeDocument/2006/relationships/chart" Target="../charts/char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0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0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2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2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2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3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3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3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8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8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0.jpeg"/><Relationship Id="rId4" Type="http://schemas.openxmlformats.org/officeDocument/2006/relationships/notesSlide" Target="../notesSlides/notesSlide4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8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  <a:alpha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411225" y="131384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-1302767" y="271893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ctrTitle"/>
          </p:nvPr>
        </p:nvSpPr>
        <p:spPr>
          <a:xfrm>
            <a:off x="385685" y="1185260"/>
            <a:ext cx="8758321" cy="2312516"/>
          </a:xfrm>
        </p:spPr>
        <p:txBody>
          <a:bodyPr/>
          <a:lstStyle/>
          <a:p>
            <a:pPr marL="0" indent="0">
              <a:lnSpc>
                <a:spcPct val="90000"/>
              </a:lnSpc>
            </a:pPr>
            <a:r>
              <a:rPr lang="en-US" sz="1200" b="1" dirty="0"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sz="1200" b="1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34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Preventing dropout and youth violence:</a:t>
            </a:r>
            <a:r>
              <a:rPr lang="en-US" sz="8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sz="8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8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sz="8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32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Lessons and observations from Chicago</a:t>
            </a:r>
            <a:endParaRPr lang="en-US" sz="32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5" name="Picture 9" descr="C:\Users\mbarella\Downloads\Fotolia_29493040_Subscription_XL.jp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16" t="13155" r="33336" b="10059"/>
          <a:stretch>
            <a:fillRect/>
          </a:stretch>
        </p:blipFill>
        <p:spPr bwMode="auto">
          <a:xfrm>
            <a:off x="6843516" y="2417718"/>
            <a:ext cx="2300484" cy="3394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93" r="7278"/>
          <a:stretch>
            <a:fillRect/>
          </a:stretch>
        </p:blipFill>
        <p:spPr bwMode="auto">
          <a:xfrm>
            <a:off x="0" y="3128425"/>
            <a:ext cx="3943848" cy="244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647183" y="4806497"/>
            <a:ext cx="4559004" cy="769441"/>
          </a:xfrm>
          <a:prstGeom prst="rect">
            <a:avLst/>
          </a:prstGeom>
        </p:spPr>
        <p:txBody>
          <a:bodyPr vert="horz" wrap="none" rtlCol="0">
            <a:spAutoFit/>
          </a:bodyPr>
          <a:lstStyle/>
          <a:p>
            <a:pPr algn="ctr"/>
            <a:r>
              <a:rPr lang="en-US" sz="2200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Julia Quinn, Research Manager</a:t>
            </a:r>
          </a:p>
          <a:p>
            <a:pPr algn="ctr"/>
            <a:r>
              <a:rPr lang="en-US" sz="2200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John Wolf, Senior Project Manager</a:t>
            </a:r>
          </a:p>
        </p:txBody>
      </p:sp>
    </p:spTree>
    <p:extLst>
      <p:ext uri="{BB962C8B-B14F-4D97-AF65-F5344CB8AC3E}">
        <p14:creationId xmlns:p14="http://schemas.microsoft.com/office/powerpoint/2010/main" val="1429515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http://robdarrow.files.wordpress.com/2008/05/dropoutpoliticalcartoon.jp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" y="-12691"/>
            <a:ext cx="7573010" cy="4971426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4"/>
          <p:cNvSpPr/>
          <p:nvPr/>
        </p:nvSpPr>
        <p:spPr>
          <a:xfrm>
            <a:off x="408612" y="381020"/>
            <a:ext cx="2295821" cy="1323439"/>
          </a:xfrm>
          <a:prstGeom prst="rect">
            <a:avLst/>
          </a:prstGeom>
          <a:noFill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/>
            <a:r>
              <a:rPr lang="en-US" sz="8000" b="1" spc="150" dirty="0" smtClean="0">
                <a:ln w="11430"/>
                <a:solidFill>
                  <a:srgbClr val="800000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Helvetica" panose="020B0604020202020204" pitchFamily="34" charset="0"/>
              </a:rPr>
              <a:t>50%</a:t>
            </a:r>
            <a:endParaRPr lang="en-US" sz="8000" b="1" spc="150" dirty="0">
              <a:ln w="11430"/>
              <a:solidFill>
                <a:srgbClr val="800000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3749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>
          <a:xfrm>
            <a:off x="711799" y="845539"/>
            <a:ext cx="816168" cy="1040866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1470092" y="860479"/>
            <a:ext cx="7222496" cy="923330"/>
          </a:xfrm>
          <a:prstGeom prst="rect">
            <a:avLst/>
          </a:prstGeom>
        </p:spPr>
        <p:txBody>
          <a:bodyPr vert="horz" wrap="square" rtlCol="0">
            <a:spAutoFit/>
          </a:bodyPr>
          <a:lstStyle/>
          <a:p>
            <a:pPr algn="ctr"/>
            <a:r>
              <a:rPr lang="en-US" dirty="0">
                <a:solidFill>
                  <a:prstClr val="black"/>
                </a:solidFill>
                <a:latin typeface="Helvetica" panose="020B0604020202020204" pitchFamily="34" charset="0"/>
                <a:ea typeface="Graphik Light" charset="0"/>
                <a:cs typeface="Helvetica" panose="020B0604020202020204" pitchFamily="34" charset="0"/>
              </a:rPr>
              <a:t>Urban Labs partners with cities to identify and rigorously evaluate the policies and programs with the greatest potential to generate large-scale social change across five key dimensions of urban </a:t>
            </a:r>
            <a:r>
              <a:rPr lang="en-US" dirty="0" smtClean="0">
                <a:solidFill>
                  <a:prstClr val="black"/>
                </a:solidFill>
                <a:latin typeface="Helvetica" panose="020B0604020202020204" pitchFamily="34" charset="0"/>
                <a:ea typeface="Graphik Light" charset="0"/>
                <a:cs typeface="Helvetica" panose="020B0604020202020204" pitchFamily="34" charset="0"/>
              </a:rPr>
              <a:t>life:</a:t>
            </a:r>
            <a:endParaRPr lang="en-US" b="1" dirty="0" smtClean="0">
              <a:solidFill>
                <a:prstClr val="black"/>
              </a:solidFill>
              <a:latin typeface="Helvetica" panose="020B0604020202020204" pitchFamily="34" charset="0"/>
              <a:ea typeface="Graphik Semibold" charset="0"/>
              <a:cs typeface="Helvetica" panose="020B0604020202020204" pitchFamily="34" charset="0"/>
            </a:endParaRPr>
          </a:p>
        </p:txBody>
      </p:sp>
      <p:sp>
        <p:nvSpPr>
          <p:cNvPr id="24" name="Freeform 10"/>
          <p:cNvSpPr>
            <a:spLocks noChangeArrowheads="1"/>
          </p:cNvSpPr>
          <p:nvPr/>
        </p:nvSpPr>
        <p:spPr bwMode="auto">
          <a:xfrm>
            <a:off x="704867" y="3078751"/>
            <a:ext cx="857295" cy="949537"/>
          </a:xfrm>
          <a:custGeom>
            <a:avLst/>
            <a:gdLst>
              <a:gd name="T0" fmla="*/ 1259 w 1392"/>
              <a:gd name="T1" fmla="*/ 1324 h 1391"/>
              <a:gd name="T2" fmla="*/ 133 w 1392"/>
              <a:gd name="T3" fmla="*/ 1390 h 1391"/>
              <a:gd name="T4" fmla="*/ 795 w 1392"/>
              <a:gd name="T5" fmla="*/ 353 h 1391"/>
              <a:gd name="T6" fmla="*/ 773 w 1392"/>
              <a:gd name="T7" fmla="*/ 331 h 1391"/>
              <a:gd name="T8" fmla="*/ 706 w 1392"/>
              <a:gd name="T9" fmla="*/ 221 h 1391"/>
              <a:gd name="T10" fmla="*/ 618 w 1392"/>
              <a:gd name="T11" fmla="*/ 287 h 1391"/>
              <a:gd name="T12" fmla="*/ 618 w 1392"/>
              <a:gd name="T13" fmla="*/ 353 h 1391"/>
              <a:gd name="T14" fmla="*/ 596 w 1392"/>
              <a:gd name="T15" fmla="*/ 375 h 1391"/>
              <a:gd name="T16" fmla="*/ 795 w 1392"/>
              <a:gd name="T17" fmla="*/ 353 h 1391"/>
              <a:gd name="T18" fmla="*/ 706 w 1392"/>
              <a:gd name="T19" fmla="*/ 176 h 1391"/>
              <a:gd name="T20" fmla="*/ 706 w 1392"/>
              <a:gd name="T21" fmla="*/ 221 h 1391"/>
              <a:gd name="T22" fmla="*/ 706 w 1392"/>
              <a:gd name="T23" fmla="*/ 176 h 1391"/>
              <a:gd name="T24" fmla="*/ 706 w 1392"/>
              <a:gd name="T25" fmla="*/ 419 h 1391"/>
              <a:gd name="T26" fmla="*/ 663 w 1392"/>
              <a:gd name="T27" fmla="*/ 397 h 1391"/>
              <a:gd name="T28" fmla="*/ 883 w 1392"/>
              <a:gd name="T29" fmla="*/ 419 h 1391"/>
              <a:gd name="T30" fmla="*/ 883 w 1392"/>
              <a:gd name="T31" fmla="*/ 199 h 1391"/>
              <a:gd name="T32" fmla="*/ 706 w 1392"/>
              <a:gd name="T33" fmla="*/ 0 h 1391"/>
              <a:gd name="T34" fmla="*/ 508 w 1392"/>
              <a:gd name="T35" fmla="*/ 199 h 1391"/>
              <a:gd name="T36" fmla="*/ 0 w 1392"/>
              <a:gd name="T37" fmla="*/ 794 h 1391"/>
              <a:gd name="T38" fmla="*/ 199 w 1392"/>
              <a:gd name="T39" fmla="*/ 1302 h 1391"/>
              <a:gd name="T40" fmla="*/ 574 w 1392"/>
              <a:gd name="T41" fmla="*/ 971 h 1391"/>
              <a:gd name="T42" fmla="*/ 817 w 1392"/>
              <a:gd name="T43" fmla="*/ 971 h 1391"/>
              <a:gd name="T44" fmla="*/ 1192 w 1392"/>
              <a:gd name="T45" fmla="*/ 1302 h 1391"/>
              <a:gd name="T46" fmla="*/ 1391 w 1392"/>
              <a:gd name="T47" fmla="*/ 794 h 1391"/>
              <a:gd name="T48" fmla="*/ 486 w 1392"/>
              <a:gd name="T49" fmla="*/ 1192 h 1391"/>
              <a:gd name="T50" fmla="*/ 310 w 1392"/>
              <a:gd name="T51" fmla="*/ 1192 h 1391"/>
              <a:gd name="T52" fmla="*/ 486 w 1392"/>
              <a:gd name="T53" fmla="*/ 1147 h 1391"/>
              <a:gd name="T54" fmla="*/ 486 w 1392"/>
              <a:gd name="T55" fmla="*/ 1103 h 1391"/>
              <a:gd name="T56" fmla="*/ 310 w 1392"/>
              <a:gd name="T57" fmla="*/ 1103 h 1391"/>
              <a:gd name="T58" fmla="*/ 486 w 1392"/>
              <a:gd name="T59" fmla="*/ 971 h 1391"/>
              <a:gd name="T60" fmla="*/ 706 w 1392"/>
              <a:gd name="T61" fmla="*/ 750 h 1391"/>
              <a:gd name="T62" fmla="*/ 596 w 1392"/>
              <a:gd name="T63" fmla="*/ 662 h 1391"/>
              <a:gd name="T64" fmla="*/ 795 w 1392"/>
              <a:gd name="T65" fmla="*/ 662 h 1391"/>
              <a:gd name="T66" fmla="*/ 839 w 1392"/>
              <a:gd name="T67" fmla="*/ 441 h 1391"/>
              <a:gd name="T68" fmla="*/ 574 w 1392"/>
              <a:gd name="T69" fmla="*/ 441 h 1391"/>
              <a:gd name="T70" fmla="*/ 574 w 1392"/>
              <a:gd name="T71" fmla="*/ 265 h 1391"/>
              <a:gd name="T72" fmla="*/ 839 w 1392"/>
              <a:gd name="T73" fmla="*/ 265 h 1391"/>
              <a:gd name="T74" fmla="*/ 839 w 1392"/>
              <a:gd name="T75" fmla="*/ 441 h 1391"/>
              <a:gd name="T76" fmla="*/ 1104 w 1392"/>
              <a:gd name="T77" fmla="*/ 1192 h 1391"/>
              <a:gd name="T78" fmla="*/ 927 w 1392"/>
              <a:gd name="T79" fmla="*/ 1147 h 1391"/>
              <a:gd name="T80" fmla="*/ 1104 w 1392"/>
              <a:gd name="T81" fmla="*/ 1192 h 1391"/>
              <a:gd name="T82" fmla="*/ 1104 w 1392"/>
              <a:gd name="T83" fmla="*/ 1103 h 1391"/>
              <a:gd name="T84" fmla="*/ 927 w 1392"/>
              <a:gd name="T85" fmla="*/ 971 h 1391"/>
              <a:gd name="T86" fmla="*/ 1104 w 1392"/>
              <a:gd name="T87" fmla="*/ 1103 h 1391"/>
              <a:gd name="T88" fmla="*/ 706 w 1392"/>
              <a:gd name="T89" fmla="*/ 662 h 1391"/>
              <a:gd name="T90" fmla="*/ 641 w 1392"/>
              <a:gd name="T91" fmla="*/ 662 h 1391"/>
              <a:gd name="T92" fmla="*/ 685 w 1392"/>
              <a:gd name="T93" fmla="*/ 640 h 1391"/>
              <a:gd name="T94" fmla="*/ 706 w 1392"/>
              <a:gd name="T95" fmla="*/ 574 h 1391"/>
              <a:gd name="T96" fmla="*/ 706 w 1392"/>
              <a:gd name="T97" fmla="*/ 662 h 1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92" h="1391">
                <a:moveTo>
                  <a:pt x="133" y="1324"/>
                </a:moveTo>
                <a:lnTo>
                  <a:pt x="1259" y="1324"/>
                </a:lnTo>
                <a:lnTo>
                  <a:pt x="1259" y="1390"/>
                </a:lnTo>
                <a:lnTo>
                  <a:pt x="133" y="1390"/>
                </a:lnTo>
                <a:lnTo>
                  <a:pt x="133" y="1324"/>
                </a:lnTo>
                <a:close/>
                <a:moveTo>
                  <a:pt x="795" y="353"/>
                </a:moveTo>
                <a:lnTo>
                  <a:pt x="795" y="353"/>
                </a:lnTo>
                <a:cubicBezTo>
                  <a:pt x="788" y="346"/>
                  <a:pt x="773" y="353"/>
                  <a:pt x="773" y="331"/>
                </a:cubicBezTo>
                <a:lnTo>
                  <a:pt x="773" y="287"/>
                </a:lnTo>
                <a:cubicBezTo>
                  <a:pt x="773" y="243"/>
                  <a:pt x="751" y="221"/>
                  <a:pt x="706" y="221"/>
                </a:cubicBezTo>
                <a:cubicBezTo>
                  <a:pt x="663" y="221"/>
                  <a:pt x="618" y="243"/>
                  <a:pt x="618" y="287"/>
                </a:cubicBezTo>
                <a:lnTo>
                  <a:pt x="618" y="287"/>
                </a:lnTo>
                <a:lnTo>
                  <a:pt x="618" y="331"/>
                </a:lnTo>
                <a:lnTo>
                  <a:pt x="618" y="353"/>
                </a:lnTo>
                <a:lnTo>
                  <a:pt x="596" y="353"/>
                </a:lnTo>
                <a:lnTo>
                  <a:pt x="596" y="375"/>
                </a:lnTo>
                <a:lnTo>
                  <a:pt x="795" y="375"/>
                </a:lnTo>
                <a:lnTo>
                  <a:pt x="795" y="353"/>
                </a:lnTo>
                <a:close/>
                <a:moveTo>
                  <a:pt x="706" y="176"/>
                </a:moveTo>
                <a:lnTo>
                  <a:pt x="706" y="176"/>
                </a:lnTo>
                <a:lnTo>
                  <a:pt x="706" y="199"/>
                </a:lnTo>
                <a:lnTo>
                  <a:pt x="706" y="221"/>
                </a:lnTo>
                <a:cubicBezTo>
                  <a:pt x="685" y="221"/>
                  <a:pt x="692" y="206"/>
                  <a:pt x="685" y="199"/>
                </a:cubicBezTo>
                <a:cubicBezTo>
                  <a:pt x="692" y="191"/>
                  <a:pt x="685" y="176"/>
                  <a:pt x="706" y="176"/>
                </a:cubicBezTo>
                <a:close/>
                <a:moveTo>
                  <a:pt x="706" y="419"/>
                </a:moveTo>
                <a:lnTo>
                  <a:pt x="706" y="419"/>
                </a:lnTo>
                <a:lnTo>
                  <a:pt x="729" y="397"/>
                </a:lnTo>
                <a:lnTo>
                  <a:pt x="663" y="397"/>
                </a:lnTo>
                <a:cubicBezTo>
                  <a:pt x="677" y="404"/>
                  <a:pt x="685" y="419"/>
                  <a:pt x="706" y="419"/>
                </a:cubicBezTo>
                <a:close/>
                <a:moveTo>
                  <a:pt x="883" y="419"/>
                </a:moveTo>
                <a:lnTo>
                  <a:pt x="883" y="419"/>
                </a:lnTo>
                <a:lnTo>
                  <a:pt x="883" y="199"/>
                </a:lnTo>
                <a:lnTo>
                  <a:pt x="971" y="199"/>
                </a:lnTo>
                <a:lnTo>
                  <a:pt x="706" y="0"/>
                </a:lnTo>
                <a:lnTo>
                  <a:pt x="420" y="199"/>
                </a:lnTo>
                <a:lnTo>
                  <a:pt x="508" y="199"/>
                </a:lnTo>
                <a:lnTo>
                  <a:pt x="508" y="419"/>
                </a:lnTo>
                <a:lnTo>
                  <a:pt x="0" y="794"/>
                </a:lnTo>
                <a:lnTo>
                  <a:pt x="199" y="794"/>
                </a:lnTo>
                <a:lnTo>
                  <a:pt x="199" y="1302"/>
                </a:lnTo>
                <a:lnTo>
                  <a:pt x="574" y="1302"/>
                </a:lnTo>
                <a:lnTo>
                  <a:pt x="574" y="971"/>
                </a:lnTo>
                <a:cubicBezTo>
                  <a:pt x="574" y="904"/>
                  <a:pt x="641" y="839"/>
                  <a:pt x="706" y="839"/>
                </a:cubicBezTo>
                <a:cubicBezTo>
                  <a:pt x="773" y="839"/>
                  <a:pt x="817" y="904"/>
                  <a:pt x="817" y="971"/>
                </a:cubicBezTo>
                <a:lnTo>
                  <a:pt x="817" y="1302"/>
                </a:lnTo>
                <a:lnTo>
                  <a:pt x="1192" y="1302"/>
                </a:lnTo>
                <a:lnTo>
                  <a:pt x="1192" y="794"/>
                </a:lnTo>
                <a:lnTo>
                  <a:pt x="1391" y="794"/>
                </a:lnTo>
                <a:lnTo>
                  <a:pt x="883" y="419"/>
                </a:lnTo>
                <a:close/>
                <a:moveTo>
                  <a:pt x="486" y="1192"/>
                </a:moveTo>
                <a:lnTo>
                  <a:pt x="486" y="1192"/>
                </a:lnTo>
                <a:lnTo>
                  <a:pt x="310" y="1192"/>
                </a:lnTo>
                <a:lnTo>
                  <a:pt x="310" y="1147"/>
                </a:lnTo>
                <a:lnTo>
                  <a:pt x="486" y="1147"/>
                </a:lnTo>
                <a:lnTo>
                  <a:pt x="486" y="1192"/>
                </a:lnTo>
                <a:close/>
                <a:moveTo>
                  <a:pt x="486" y="1103"/>
                </a:moveTo>
                <a:lnTo>
                  <a:pt x="486" y="1103"/>
                </a:lnTo>
                <a:lnTo>
                  <a:pt x="310" y="1103"/>
                </a:lnTo>
                <a:lnTo>
                  <a:pt x="310" y="971"/>
                </a:lnTo>
                <a:lnTo>
                  <a:pt x="486" y="971"/>
                </a:lnTo>
                <a:lnTo>
                  <a:pt x="486" y="1103"/>
                </a:lnTo>
                <a:close/>
                <a:moveTo>
                  <a:pt x="706" y="750"/>
                </a:moveTo>
                <a:lnTo>
                  <a:pt x="706" y="750"/>
                </a:lnTo>
                <a:cubicBezTo>
                  <a:pt x="641" y="750"/>
                  <a:pt x="596" y="706"/>
                  <a:pt x="596" y="662"/>
                </a:cubicBezTo>
                <a:cubicBezTo>
                  <a:pt x="596" y="596"/>
                  <a:pt x="641" y="552"/>
                  <a:pt x="706" y="552"/>
                </a:cubicBezTo>
                <a:cubicBezTo>
                  <a:pt x="751" y="552"/>
                  <a:pt x="795" y="596"/>
                  <a:pt x="795" y="662"/>
                </a:cubicBezTo>
                <a:cubicBezTo>
                  <a:pt x="795" y="706"/>
                  <a:pt x="751" y="750"/>
                  <a:pt x="706" y="750"/>
                </a:cubicBezTo>
                <a:close/>
                <a:moveTo>
                  <a:pt x="839" y="441"/>
                </a:moveTo>
                <a:lnTo>
                  <a:pt x="839" y="441"/>
                </a:lnTo>
                <a:lnTo>
                  <a:pt x="574" y="441"/>
                </a:lnTo>
                <a:lnTo>
                  <a:pt x="574" y="265"/>
                </a:lnTo>
                <a:lnTo>
                  <a:pt x="574" y="265"/>
                </a:lnTo>
                <a:cubicBezTo>
                  <a:pt x="574" y="199"/>
                  <a:pt x="641" y="154"/>
                  <a:pt x="706" y="154"/>
                </a:cubicBezTo>
                <a:cubicBezTo>
                  <a:pt x="773" y="154"/>
                  <a:pt x="817" y="199"/>
                  <a:pt x="839" y="265"/>
                </a:cubicBezTo>
                <a:lnTo>
                  <a:pt x="839" y="265"/>
                </a:lnTo>
                <a:lnTo>
                  <a:pt x="839" y="441"/>
                </a:lnTo>
                <a:close/>
                <a:moveTo>
                  <a:pt x="1104" y="1192"/>
                </a:moveTo>
                <a:lnTo>
                  <a:pt x="1104" y="1192"/>
                </a:lnTo>
                <a:lnTo>
                  <a:pt x="927" y="1192"/>
                </a:lnTo>
                <a:lnTo>
                  <a:pt x="927" y="1147"/>
                </a:lnTo>
                <a:lnTo>
                  <a:pt x="1104" y="1147"/>
                </a:lnTo>
                <a:lnTo>
                  <a:pt x="1104" y="1192"/>
                </a:lnTo>
                <a:close/>
                <a:moveTo>
                  <a:pt x="1104" y="1103"/>
                </a:moveTo>
                <a:lnTo>
                  <a:pt x="1104" y="1103"/>
                </a:lnTo>
                <a:lnTo>
                  <a:pt x="927" y="1103"/>
                </a:lnTo>
                <a:lnTo>
                  <a:pt x="927" y="971"/>
                </a:lnTo>
                <a:lnTo>
                  <a:pt x="1104" y="971"/>
                </a:lnTo>
                <a:lnTo>
                  <a:pt x="1104" y="1103"/>
                </a:lnTo>
                <a:close/>
                <a:moveTo>
                  <a:pt x="706" y="662"/>
                </a:moveTo>
                <a:lnTo>
                  <a:pt x="706" y="662"/>
                </a:lnTo>
                <a:cubicBezTo>
                  <a:pt x="663" y="662"/>
                  <a:pt x="677" y="662"/>
                  <a:pt x="663" y="662"/>
                </a:cubicBezTo>
                <a:lnTo>
                  <a:pt x="641" y="662"/>
                </a:lnTo>
                <a:cubicBezTo>
                  <a:pt x="641" y="640"/>
                  <a:pt x="641" y="640"/>
                  <a:pt x="663" y="640"/>
                </a:cubicBezTo>
                <a:cubicBezTo>
                  <a:pt x="685" y="640"/>
                  <a:pt x="678" y="640"/>
                  <a:pt x="685" y="640"/>
                </a:cubicBezTo>
                <a:cubicBezTo>
                  <a:pt x="685" y="574"/>
                  <a:pt x="685" y="596"/>
                  <a:pt x="685" y="574"/>
                </a:cubicBezTo>
                <a:lnTo>
                  <a:pt x="706" y="574"/>
                </a:lnTo>
                <a:lnTo>
                  <a:pt x="706" y="574"/>
                </a:lnTo>
                <a:lnTo>
                  <a:pt x="706" y="662"/>
                </a:lnTo>
                <a:close/>
              </a:path>
            </a:pathLst>
          </a:custGeom>
          <a:solidFill>
            <a:srgbClr val="8A002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62536" y="4164272"/>
            <a:ext cx="1341886" cy="286232"/>
          </a:xfrm>
          <a:prstGeom prst="rect">
            <a:avLst/>
          </a:prstGeom>
        </p:spPr>
        <p:txBody>
          <a:bodyPr vert="horz"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 dirty="0" smtClean="0">
                <a:solidFill>
                  <a:srgbClr val="8A0021"/>
                </a:solidFill>
                <a:latin typeface="Helvetica" panose="020B0604020202020204" pitchFamily="34" charset="0"/>
                <a:ea typeface="Graphik" charset="0"/>
                <a:cs typeface="Helvetica" panose="020B0604020202020204" pitchFamily="34" charset="0"/>
              </a:rPr>
              <a:t>EDUCATION</a:t>
            </a:r>
          </a:p>
        </p:txBody>
      </p:sp>
      <p:sp>
        <p:nvSpPr>
          <p:cNvPr id="27" name="Freeform 11"/>
          <p:cNvSpPr>
            <a:spLocks noChangeArrowheads="1"/>
          </p:cNvSpPr>
          <p:nvPr/>
        </p:nvSpPr>
        <p:spPr bwMode="auto">
          <a:xfrm>
            <a:off x="2022964" y="2873529"/>
            <a:ext cx="976277" cy="1154738"/>
          </a:xfrm>
          <a:custGeom>
            <a:avLst/>
            <a:gdLst>
              <a:gd name="T0" fmla="*/ 1478 w 2052"/>
              <a:gd name="T1" fmla="*/ 970 h 2184"/>
              <a:gd name="T2" fmla="*/ 1345 w 2052"/>
              <a:gd name="T3" fmla="*/ 1124 h 2184"/>
              <a:gd name="T4" fmla="*/ 1478 w 2052"/>
              <a:gd name="T5" fmla="*/ 1257 h 2184"/>
              <a:gd name="T6" fmla="*/ 1610 w 2052"/>
              <a:gd name="T7" fmla="*/ 1389 h 2184"/>
              <a:gd name="T8" fmla="*/ 1765 w 2052"/>
              <a:gd name="T9" fmla="*/ 1257 h 2184"/>
              <a:gd name="T10" fmla="*/ 1610 w 2052"/>
              <a:gd name="T11" fmla="*/ 1124 h 2184"/>
              <a:gd name="T12" fmla="*/ 970 w 2052"/>
              <a:gd name="T13" fmla="*/ 727 h 2184"/>
              <a:gd name="T14" fmla="*/ 970 w 2052"/>
              <a:gd name="T15" fmla="*/ 0 h 2184"/>
              <a:gd name="T16" fmla="*/ 0 w 2052"/>
              <a:gd name="T17" fmla="*/ 2183 h 2184"/>
              <a:gd name="T18" fmla="*/ 684 w 2052"/>
              <a:gd name="T19" fmla="*/ 2183 h 2184"/>
              <a:gd name="T20" fmla="*/ 1103 w 2052"/>
              <a:gd name="T21" fmla="*/ 1720 h 2184"/>
              <a:gd name="T22" fmla="*/ 2051 w 2052"/>
              <a:gd name="T23" fmla="*/ 2183 h 2184"/>
              <a:gd name="T24" fmla="*/ 970 w 2052"/>
              <a:gd name="T25" fmla="*/ 727 h 2184"/>
              <a:gd name="T26" fmla="*/ 441 w 2052"/>
              <a:gd name="T27" fmla="*/ 1455 h 2184"/>
              <a:gd name="T28" fmla="*/ 154 w 2052"/>
              <a:gd name="T29" fmla="*/ 1191 h 2184"/>
              <a:gd name="T30" fmla="*/ 441 w 2052"/>
              <a:gd name="T31" fmla="*/ 1455 h 2184"/>
              <a:gd name="T32" fmla="*/ 441 w 2052"/>
              <a:gd name="T33" fmla="*/ 1102 h 2184"/>
              <a:gd name="T34" fmla="*/ 154 w 2052"/>
              <a:gd name="T35" fmla="*/ 838 h 2184"/>
              <a:gd name="T36" fmla="*/ 441 w 2052"/>
              <a:gd name="T37" fmla="*/ 1102 h 2184"/>
              <a:gd name="T38" fmla="*/ 441 w 2052"/>
              <a:gd name="T39" fmla="*/ 771 h 2184"/>
              <a:gd name="T40" fmla="*/ 154 w 2052"/>
              <a:gd name="T41" fmla="*/ 506 h 2184"/>
              <a:gd name="T42" fmla="*/ 441 w 2052"/>
              <a:gd name="T43" fmla="*/ 771 h 2184"/>
              <a:gd name="T44" fmla="*/ 441 w 2052"/>
              <a:gd name="T45" fmla="*/ 418 h 2184"/>
              <a:gd name="T46" fmla="*/ 154 w 2052"/>
              <a:gd name="T47" fmla="*/ 153 h 2184"/>
              <a:gd name="T48" fmla="*/ 441 w 2052"/>
              <a:gd name="T49" fmla="*/ 418 h 2184"/>
              <a:gd name="T50" fmla="*/ 838 w 2052"/>
              <a:gd name="T51" fmla="*/ 1455 h 2184"/>
              <a:gd name="T52" fmla="*/ 551 w 2052"/>
              <a:gd name="T53" fmla="*/ 1191 h 2184"/>
              <a:gd name="T54" fmla="*/ 838 w 2052"/>
              <a:gd name="T55" fmla="*/ 1455 h 2184"/>
              <a:gd name="T56" fmla="*/ 838 w 2052"/>
              <a:gd name="T57" fmla="*/ 1102 h 2184"/>
              <a:gd name="T58" fmla="*/ 551 w 2052"/>
              <a:gd name="T59" fmla="*/ 838 h 2184"/>
              <a:gd name="T60" fmla="*/ 838 w 2052"/>
              <a:gd name="T61" fmla="*/ 1102 h 2184"/>
              <a:gd name="T62" fmla="*/ 838 w 2052"/>
              <a:gd name="T63" fmla="*/ 771 h 2184"/>
              <a:gd name="T64" fmla="*/ 551 w 2052"/>
              <a:gd name="T65" fmla="*/ 506 h 2184"/>
              <a:gd name="T66" fmla="*/ 838 w 2052"/>
              <a:gd name="T67" fmla="*/ 771 h 2184"/>
              <a:gd name="T68" fmla="*/ 838 w 2052"/>
              <a:gd name="T69" fmla="*/ 418 h 2184"/>
              <a:gd name="T70" fmla="*/ 551 w 2052"/>
              <a:gd name="T71" fmla="*/ 153 h 2184"/>
              <a:gd name="T72" fmla="*/ 838 w 2052"/>
              <a:gd name="T73" fmla="*/ 418 h 2184"/>
              <a:gd name="T74" fmla="*/ 1544 w 2052"/>
              <a:gd name="T75" fmla="*/ 1500 h 2184"/>
              <a:gd name="T76" fmla="*/ 1544 w 2052"/>
              <a:gd name="T77" fmla="*/ 860 h 2184"/>
              <a:gd name="T78" fmla="*/ 1544 w 2052"/>
              <a:gd name="T79" fmla="*/ 1500 h 2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052" h="2184">
                <a:moveTo>
                  <a:pt x="1610" y="970"/>
                </a:moveTo>
                <a:lnTo>
                  <a:pt x="1478" y="970"/>
                </a:lnTo>
                <a:lnTo>
                  <a:pt x="1478" y="1124"/>
                </a:lnTo>
                <a:lnTo>
                  <a:pt x="1345" y="1124"/>
                </a:lnTo>
                <a:lnTo>
                  <a:pt x="1345" y="1257"/>
                </a:lnTo>
                <a:lnTo>
                  <a:pt x="1478" y="1257"/>
                </a:lnTo>
                <a:lnTo>
                  <a:pt x="1478" y="1389"/>
                </a:lnTo>
                <a:lnTo>
                  <a:pt x="1610" y="1389"/>
                </a:lnTo>
                <a:lnTo>
                  <a:pt x="1610" y="1257"/>
                </a:lnTo>
                <a:lnTo>
                  <a:pt x="1765" y="1257"/>
                </a:lnTo>
                <a:lnTo>
                  <a:pt x="1765" y="1124"/>
                </a:lnTo>
                <a:lnTo>
                  <a:pt x="1610" y="1124"/>
                </a:lnTo>
                <a:lnTo>
                  <a:pt x="1610" y="970"/>
                </a:lnTo>
                <a:close/>
                <a:moveTo>
                  <a:pt x="970" y="727"/>
                </a:moveTo>
                <a:lnTo>
                  <a:pt x="970" y="727"/>
                </a:lnTo>
                <a:lnTo>
                  <a:pt x="970" y="0"/>
                </a:lnTo>
                <a:lnTo>
                  <a:pt x="0" y="0"/>
                </a:lnTo>
                <a:lnTo>
                  <a:pt x="0" y="2183"/>
                </a:lnTo>
                <a:lnTo>
                  <a:pt x="397" y="2183"/>
                </a:lnTo>
                <a:lnTo>
                  <a:pt x="684" y="2183"/>
                </a:lnTo>
                <a:lnTo>
                  <a:pt x="684" y="1720"/>
                </a:lnTo>
                <a:lnTo>
                  <a:pt x="1103" y="1720"/>
                </a:lnTo>
                <a:lnTo>
                  <a:pt x="1103" y="2183"/>
                </a:lnTo>
                <a:lnTo>
                  <a:pt x="2051" y="2183"/>
                </a:lnTo>
                <a:lnTo>
                  <a:pt x="2051" y="727"/>
                </a:lnTo>
                <a:lnTo>
                  <a:pt x="970" y="727"/>
                </a:lnTo>
                <a:close/>
                <a:moveTo>
                  <a:pt x="441" y="1455"/>
                </a:moveTo>
                <a:lnTo>
                  <a:pt x="441" y="1455"/>
                </a:lnTo>
                <a:lnTo>
                  <a:pt x="154" y="1455"/>
                </a:lnTo>
                <a:lnTo>
                  <a:pt x="154" y="1191"/>
                </a:lnTo>
                <a:lnTo>
                  <a:pt x="441" y="1191"/>
                </a:lnTo>
                <a:lnTo>
                  <a:pt x="441" y="1455"/>
                </a:lnTo>
                <a:close/>
                <a:moveTo>
                  <a:pt x="441" y="1102"/>
                </a:moveTo>
                <a:lnTo>
                  <a:pt x="441" y="1102"/>
                </a:lnTo>
                <a:lnTo>
                  <a:pt x="154" y="1102"/>
                </a:lnTo>
                <a:lnTo>
                  <a:pt x="154" y="838"/>
                </a:lnTo>
                <a:lnTo>
                  <a:pt x="441" y="838"/>
                </a:lnTo>
                <a:lnTo>
                  <a:pt x="441" y="1102"/>
                </a:lnTo>
                <a:close/>
                <a:moveTo>
                  <a:pt x="441" y="771"/>
                </a:moveTo>
                <a:lnTo>
                  <a:pt x="441" y="771"/>
                </a:lnTo>
                <a:lnTo>
                  <a:pt x="154" y="771"/>
                </a:lnTo>
                <a:lnTo>
                  <a:pt x="154" y="506"/>
                </a:lnTo>
                <a:lnTo>
                  <a:pt x="441" y="506"/>
                </a:lnTo>
                <a:lnTo>
                  <a:pt x="441" y="771"/>
                </a:lnTo>
                <a:close/>
                <a:moveTo>
                  <a:pt x="441" y="418"/>
                </a:moveTo>
                <a:lnTo>
                  <a:pt x="441" y="418"/>
                </a:lnTo>
                <a:lnTo>
                  <a:pt x="154" y="418"/>
                </a:lnTo>
                <a:lnTo>
                  <a:pt x="154" y="153"/>
                </a:lnTo>
                <a:lnTo>
                  <a:pt x="441" y="153"/>
                </a:lnTo>
                <a:lnTo>
                  <a:pt x="441" y="418"/>
                </a:lnTo>
                <a:close/>
                <a:moveTo>
                  <a:pt x="838" y="1455"/>
                </a:moveTo>
                <a:lnTo>
                  <a:pt x="838" y="1455"/>
                </a:lnTo>
                <a:lnTo>
                  <a:pt x="551" y="1455"/>
                </a:lnTo>
                <a:lnTo>
                  <a:pt x="551" y="1191"/>
                </a:lnTo>
                <a:lnTo>
                  <a:pt x="838" y="1191"/>
                </a:lnTo>
                <a:lnTo>
                  <a:pt x="838" y="1455"/>
                </a:lnTo>
                <a:close/>
                <a:moveTo>
                  <a:pt x="838" y="1102"/>
                </a:moveTo>
                <a:lnTo>
                  <a:pt x="838" y="1102"/>
                </a:lnTo>
                <a:lnTo>
                  <a:pt x="551" y="1102"/>
                </a:lnTo>
                <a:lnTo>
                  <a:pt x="551" y="838"/>
                </a:lnTo>
                <a:lnTo>
                  <a:pt x="838" y="838"/>
                </a:lnTo>
                <a:lnTo>
                  <a:pt x="838" y="1102"/>
                </a:lnTo>
                <a:close/>
                <a:moveTo>
                  <a:pt x="838" y="771"/>
                </a:moveTo>
                <a:lnTo>
                  <a:pt x="838" y="771"/>
                </a:lnTo>
                <a:lnTo>
                  <a:pt x="551" y="771"/>
                </a:lnTo>
                <a:lnTo>
                  <a:pt x="551" y="506"/>
                </a:lnTo>
                <a:lnTo>
                  <a:pt x="838" y="506"/>
                </a:lnTo>
                <a:lnTo>
                  <a:pt x="838" y="771"/>
                </a:lnTo>
                <a:close/>
                <a:moveTo>
                  <a:pt x="838" y="418"/>
                </a:moveTo>
                <a:lnTo>
                  <a:pt x="838" y="418"/>
                </a:lnTo>
                <a:lnTo>
                  <a:pt x="551" y="418"/>
                </a:lnTo>
                <a:lnTo>
                  <a:pt x="551" y="153"/>
                </a:lnTo>
                <a:lnTo>
                  <a:pt x="838" y="153"/>
                </a:lnTo>
                <a:lnTo>
                  <a:pt x="838" y="418"/>
                </a:lnTo>
                <a:close/>
                <a:moveTo>
                  <a:pt x="1544" y="1500"/>
                </a:moveTo>
                <a:lnTo>
                  <a:pt x="1544" y="1500"/>
                </a:lnTo>
                <a:cubicBezTo>
                  <a:pt x="1368" y="1500"/>
                  <a:pt x="1235" y="1367"/>
                  <a:pt x="1235" y="1191"/>
                </a:cubicBezTo>
                <a:cubicBezTo>
                  <a:pt x="1235" y="1014"/>
                  <a:pt x="1368" y="860"/>
                  <a:pt x="1544" y="860"/>
                </a:cubicBezTo>
                <a:cubicBezTo>
                  <a:pt x="1721" y="860"/>
                  <a:pt x="1875" y="1014"/>
                  <a:pt x="1875" y="1191"/>
                </a:cubicBezTo>
                <a:cubicBezTo>
                  <a:pt x="1875" y="1367"/>
                  <a:pt x="1721" y="1500"/>
                  <a:pt x="1544" y="1500"/>
                </a:cubicBezTo>
                <a:close/>
              </a:path>
            </a:pathLst>
          </a:custGeom>
          <a:solidFill>
            <a:srgbClr val="8A002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</a:pPr>
            <a:endParaRPr lang="en-US" smtClean="0">
              <a:solidFill>
                <a:srgbClr val="000000"/>
              </a:solidFill>
              <a:latin typeface="Arial" charset="0"/>
              <a:ea typeface="SimSun"/>
              <a:cs typeface="SimSun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897019" y="4164272"/>
            <a:ext cx="1228146" cy="286232"/>
          </a:xfrm>
          <a:prstGeom prst="rect">
            <a:avLst/>
          </a:prstGeom>
        </p:spPr>
        <p:txBody>
          <a:bodyPr vert="horz"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 dirty="0" smtClean="0">
                <a:solidFill>
                  <a:srgbClr val="8A0021"/>
                </a:solidFill>
                <a:latin typeface="Helvetica" panose="020B0604020202020204" pitchFamily="34" charset="0"/>
                <a:ea typeface="Graphik" charset="0"/>
                <a:cs typeface="Helvetica" panose="020B0604020202020204" pitchFamily="34" charset="0"/>
              </a:rPr>
              <a:t>HEALTH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4680" y="2418899"/>
            <a:ext cx="473620" cy="393826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1223" y="2264119"/>
            <a:ext cx="659760" cy="548606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036" y="2332273"/>
            <a:ext cx="577794" cy="480449"/>
          </a:xfrm>
          <a:prstGeom prst="rect">
            <a:avLst/>
          </a:prstGeom>
        </p:spPr>
      </p:pic>
      <p:sp>
        <p:nvSpPr>
          <p:cNvPr id="33" name="Freeform 32"/>
          <p:cNvSpPr>
            <a:spLocks noChangeArrowheads="1"/>
          </p:cNvSpPr>
          <p:nvPr/>
        </p:nvSpPr>
        <p:spPr bwMode="auto">
          <a:xfrm>
            <a:off x="3449354" y="2862341"/>
            <a:ext cx="1390650" cy="1165931"/>
          </a:xfrm>
          <a:custGeom>
            <a:avLst/>
            <a:gdLst>
              <a:gd name="T0" fmla="*/ 3000 w 3861"/>
              <a:gd name="T1" fmla="*/ 1522 h 2913"/>
              <a:gd name="T2" fmla="*/ 3000 w 3861"/>
              <a:gd name="T3" fmla="*/ 1765 h 2913"/>
              <a:gd name="T4" fmla="*/ 0 w 3861"/>
              <a:gd name="T5" fmla="*/ 2912 h 2913"/>
              <a:gd name="T6" fmla="*/ 1963 w 3861"/>
              <a:gd name="T7" fmla="*/ 1566 h 2913"/>
              <a:gd name="T8" fmla="*/ 1963 w 3861"/>
              <a:gd name="T9" fmla="*/ 1566 h 2913"/>
              <a:gd name="T10" fmla="*/ 1963 w 3861"/>
              <a:gd name="T11" fmla="*/ 1897 h 2913"/>
              <a:gd name="T12" fmla="*/ 2118 w 3861"/>
              <a:gd name="T13" fmla="*/ 2096 h 2913"/>
              <a:gd name="T14" fmla="*/ 1919 w 3861"/>
              <a:gd name="T15" fmla="*/ 1566 h 2913"/>
              <a:gd name="T16" fmla="*/ 1765 w 3861"/>
              <a:gd name="T17" fmla="*/ 1765 h 2913"/>
              <a:gd name="T18" fmla="*/ 1765 w 3861"/>
              <a:gd name="T19" fmla="*/ 1963 h 2913"/>
              <a:gd name="T20" fmla="*/ 1765 w 3861"/>
              <a:gd name="T21" fmla="*/ 1963 h 2913"/>
              <a:gd name="T22" fmla="*/ 1566 w 3861"/>
              <a:gd name="T23" fmla="*/ 1720 h 2913"/>
              <a:gd name="T24" fmla="*/ 1720 w 3861"/>
              <a:gd name="T25" fmla="*/ 1897 h 2913"/>
              <a:gd name="T26" fmla="*/ 1720 w 3861"/>
              <a:gd name="T27" fmla="*/ 1963 h 2913"/>
              <a:gd name="T28" fmla="*/ 1367 w 3861"/>
              <a:gd name="T29" fmla="*/ 1566 h 2913"/>
              <a:gd name="T30" fmla="*/ 1367 w 3861"/>
              <a:gd name="T31" fmla="*/ 1765 h 2913"/>
              <a:gd name="T32" fmla="*/ 1367 w 3861"/>
              <a:gd name="T33" fmla="*/ 1765 h 2913"/>
              <a:gd name="T34" fmla="*/ 1367 w 3861"/>
              <a:gd name="T35" fmla="*/ 2096 h 2913"/>
              <a:gd name="T36" fmla="*/ 1323 w 3861"/>
              <a:gd name="T37" fmla="*/ 1720 h 2913"/>
              <a:gd name="T38" fmla="*/ 1323 w 3861"/>
              <a:gd name="T39" fmla="*/ 1765 h 2913"/>
              <a:gd name="T40" fmla="*/ 1169 w 3861"/>
              <a:gd name="T41" fmla="*/ 1963 h 2913"/>
              <a:gd name="T42" fmla="*/ 970 w 3861"/>
              <a:gd name="T43" fmla="*/ 1566 h 2913"/>
              <a:gd name="T44" fmla="*/ 970 w 3861"/>
              <a:gd name="T45" fmla="*/ 1566 h 2913"/>
              <a:gd name="T46" fmla="*/ 970 w 3861"/>
              <a:gd name="T47" fmla="*/ 1897 h 2913"/>
              <a:gd name="T48" fmla="*/ 1124 w 3861"/>
              <a:gd name="T49" fmla="*/ 2096 h 2913"/>
              <a:gd name="T50" fmla="*/ 926 w 3861"/>
              <a:gd name="T51" fmla="*/ 1566 h 2913"/>
              <a:gd name="T52" fmla="*/ 771 w 3861"/>
              <a:gd name="T53" fmla="*/ 1765 h 2913"/>
              <a:gd name="T54" fmla="*/ 771 w 3861"/>
              <a:gd name="T55" fmla="*/ 1963 h 2913"/>
              <a:gd name="T56" fmla="*/ 771 w 3861"/>
              <a:gd name="T57" fmla="*/ 1963 h 2913"/>
              <a:gd name="T58" fmla="*/ 573 w 3861"/>
              <a:gd name="T59" fmla="*/ 1720 h 2913"/>
              <a:gd name="T60" fmla="*/ 728 w 3861"/>
              <a:gd name="T61" fmla="*/ 1897 h 2913"/>
              <a:gd name="T62" fmla="*/ 728 w 3861"/>
              <a:gd name="T63" fmla="*/ 1963 h 2913"/>
              <a:gd name="T64" fmla="*/ 375 w 3861"/>
              <a:gd name="T65" fmla="*/ 1566 h 2913"/>
              <a:gd name="T66" fmla="*/ 375 w 3861"/>
              <a:gd name="T67" fmla="*/ 1765 h 2913"/>
              <a:gd name="T68" fmla="*/ 375 w 3861"/>
              <a:gd name="T69" fmla="*/ 1765 h 2913"/>
              <a:gd name="T70" fmla="*/ 375 w 3861"/>
              <a:gd name="T71" fmla="*/ 2096 h 2913"/>
              <a:gd name="T72" fmla="*/ 154 w 3861"/>
              <a:gd name="T73" fmla="*/ 2625 h 2913"/>
              <a:gd name="T74" fmla="*/ 154 w 3861"/>
              <a:gd name="T75" fmla="*/ 2448 h 2913"/>
              <a:gd name="T76" fmla="*/ 3000 w 3861"/>
              <a:gd name="T77" fmla="*/ 2691 h 2913"/>
              <a:gd name="T78" fmla="*/ 3000 w 3861"/>
              <a:gd name="T79" fmla="*/ 2448 h 2913"/>
              <a:gd name="T80" fmla="*/ 3000 w 3861"/>
              <a:gd name="T81" fmla="*/ 2448 h 2913"/>
              <a:gd name="T82" fmla="*/ 3000 w 3861"/>
              <a:gd name="T83" fmla="*/ 2140 h 2913"/>
              <a:gd name="T84" fmla="*/ 3353 w 3861"/>
              <a:gd name="T85" fmla="*/ 2625 h 2913"/>
              <a:gd name="T86" fmla="*/ 3353 w 3861"/>
              <a:gd name="T87" fmla="*/ 2448 h 2913"/>
              <a:gd name="T88" fmla="*/ 3662 w 3861"/>
              <a:gd name="T89" fmla="*/ 2206 h 2913"/>
              <a:gd name="T90" fmla="*/ 2493 w 3861"/>
              <a:gd name="T91" fmla="*/ 1059 h 2913"/>
              <a:gd name="T92" fmla="*/ 2228 w 3861"/>
              <a:gd name="T93" fmla="*/ 176 h 2913"/>
              <a:gd name="T94" fmla="*/ 1808 w 3861"/>
              <a:gd name="T95" fmla="*/ 176 h 2913"/>
              <a:gd name="T96" fmla="*/ 1412 w 3861"/>
              <a:gd name="T97" fmla="*/ 198 h 2913"/>
              <a:gd name="T98" fmla="*/ 1059 w 3861"/>
              <a:gd name="T99" fmla="*/ 0 h 2913"/>
              <a:gd name="T100" fmla="*/ 1059 w 3861"/>
              <a:gd name="T101" fmla="*/ 1059 h 2913"/>
              <a:gd name="T102" fmla="*/ 661 w 3861"/>
              <a:gd name="T103" fmla="*/ 22 h 2913"/>
              <a:gd name="T104" fmla="*/ 264 w 3861"/>
              <a:gd name="T105" fmla="*/ 198 h 2913"/>
              <a:gd name="T106" fmla="*/ 2493 w 3861"/>
              <a:gd name="T107" fmla="*/ 1191 h 2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861" h="2913">
                <a:moveTo>
                  <a:pt x="3353" y="1897"/>
                </a:moveTo>
                <a:lnTo>
                  <a:pt x="3353" y="1897"/>
                </a:lnTo>
                <a:lnTo>
                  <a:pt x="3353" y="1765"/>
                </a:lnTo>
                <a:lnTo>
                  <a:pt x="3264" y="1765"/>
                </a:lnTo>
                <a:cubicBezTo>
                  <a:pt x="3264" y="1632"/>
                  <a:pt x="3132" y="1522"/>
                  <a:pt x="3000" y="1522"/>
                </a:cubicBezTo>
                <a:lnTo>
                  <a:pt x="2493" y="1522"/>
                </a:lnTo>
                <a:lnTo>
                  <a:pt x="2493" y="1698"/>
                </a:lnTo>
                <a:lnTo>
                  <a:pt x="3000" y="1698"/>
                </a:lnTo>
                <a:cubicBezTo>
                  <a:pt x="3044" y="1698"/>
                  <a:pt x="3089" y="1720"/>
                  <a:pt x="3089" y="1765"/>
                </a:cubicBezTo>
                <a:cubicBezTo>
                  <a:pt x="3000" y="1765"/>
                  <a:pt x="3030" y="1765"/>
                  <a:pt x="3000" y="1765"/>
                </a:cubicBezTo>
                <a:lnTo>
                  <a:pt x="3000" y="1897"/>
                </a:lnTo>
                <a:lnTo>
                  <a:pt x="2493" y="1897"/>
                </a:lnTo>
                <a:lnTo>
                  <a:pt x="2493" y="1235"/>
                </a:lnTo>
                <a:lnTo>
                  <a:pt x="0" y="1235"/>
                </a:lnTo>
                <a:lnTo>
                  <a:pt x="0" y="2912"/>
                </a:lnTo>
                <a:lnTo>
                  <a:pt x="2493" y="2912"/>
                </a:lnTo>
                <a:lnTo>
                  <a:pt x="3860" y="2912"/>
                </a:lnTo>
                <a:lnTo>
                  <a:pt x="3860" y="1897"/>
                </a:lnTo>
                <a:lnTo>
                  <a:pt x="3353" y="1897"/>
                </a:lnTo>
                <a:close/>
                <a:moveTo>
                  <a:pt x="1963" y="1566"/>
                </a:moveTo>
                <a:lnTo>
                  <a:pt x="1963" y="1566"/>
                </a:lnTo>
                <a:lnTo>
                  <a:pt x="2118" y="1566"/>
                </a:lnTo>
                <a:lnTo>
                  <a:pt x="2118" y="1720"/>
                </a:lnTo>
                <a:lnTo>
                  <a:pt x="1963" y="1720"/>
                </a:lnTo>
                <a:lnTo>
                  <a:pt x="1963" y="1566"/>
                </a:lnTo>
                <a:close/>
                <a:moveTo>
                  <a:pt x="1963" y="1765"/>
                </a:moveTo>
                <a:lnTo>
                  <a:pt x="1963" y="1765"/>
                </a:lnTo>
                <a:lnTo>
                  <a:pt x="2118" y="1765"/>
                </a:lnTo>
                <a:lnTo>
                  <a:pt x="2118" y="1897"/>
                </a:lnTo>
                <a:lnTo>
                  <a:pt x="1963" y="1897"/>
                </a:lnTo>
                <a:lnTo>
                  <a:pt x="1963" y="1765"/>
                </a:lnTo>
                <a:close/>
                <a:moveTo>
                  <a:pt x="1963" y="1963"/>
                </a:moveTo>
                <a:lnTo>
                  <a:pt x="1963" y="1963"/>
                </a:lnTo>
                <a:lnTo>
                  <a:pt x="2118" y="1963"/>
                </a:lnTo>
                <a:lnTo>
                  <a:pt x="2118" y="2096"/>
                </a:lnTo>
                <a:lnTo>
                  <a:pt x="1963" y="2096"/>
                </a:lnTo>
                <a:lnTo>
                  <a:pt x="1963" y="1963"/>
                </a:lnTo>
                <a:close/>
                <a:moveTo>
                  <a:pt x="1765" y="1566"/>
                </a:moveTo>
                <a:lnTo>
                  <a:pt x="1765" y="1566"/>
                </a:lnTo>
                <a:cubicBezTo>
                  <a:pt x="1919" y="1566"/>
                  <a:pt x="1868" y="1566"/>
                  <a:pt x="1919" y="1566"/>
                </a:cubicBezTo>
                <a:lnTo>
                  <a:pt x="1919" y="1720"/>
                </a:lnTo>
                <a:cubicBezTo>
                  <a:pt x="1765" y="1720"/>
                  <a:pt x="1816" y="1720"/>
                  <a:pt x="1765" y="1720"/>
                </a:cubicBezTo>
                <a:lnTo>
                  <a:pt x="1765" y="1566"/>
                </a:lnTo>
                <a:close/>
                <a:moveTo>
                  <a:pt x="1765" y="1765"/>
                </a:moveTo>
                <a:lnTo>
                  <a:pt x="1765" y="1765"/>
                </a:lnTo>
                <a:cubicBezTo>
                  <a:pt x="1919" y="1765"/>
                  <a:pt x="1868" y="1765"/>
                  <a:pt x="1919" y="1765"/>
                </a:cubicBezTo>
                <a:lnTo>
                  <a:pt x="1919" y="1897"/>
                </a:lnTo>
                <a:cubicBezTo>
                  <a:pt x="1765" y="1897"/>
                  <a:pt x="1816" y="1897"/>
                  <a:pt x="1765" y="1897"/>
                </a:cubicBezTo>
                <a:lnTo>
                  <a:pt x="1765" y="1765"/>
                </a:lnTo>
                <a:close/>
                <a:moveTo>
                  <a:pt x="1765" y="1963"/>
                </a:moveTo>
                <a:lnTo>
                  <a:pt x="1765" y="1963"/>
                </a:lnTo>
                <a:cubicBezTo>
                  <a:pt x="1919" y="1963"/>
                  <a:pt x="1868" y="1963"/>
                  <a:pt x="1919" y="1963"/>
                </a:cubicBezTo>
                <a:lnTo>
                  <a:pt x="1919" y="2096"/>
                </a:lnTo>
                <a:cubicBezTo>
                  <a:pt x="1765" y="2096"/>
                  <a:pt x="1816" y="2096"/>
                  <a:pt x="1765" y="2096"/>
                </a:cubicBezTo>
                <a:lnTo>
                  <a:pt x="1765" y="1963"/>
                </a:lnTo>
                <a:close/>
                <a:moveTo>
                  <a:pt x="1566" y="1566"/>
                </a:moveTo>
                <a:lnTo>
                  <a:pt x="1566" y="1566"/>
                </a:lnTo>
                <a:cubicBezTo>
                  <a:pt x="1720" y="1566"/>
                  <a:pt x="1669" y="1566"/>
                  <a:pt x="1720" y="1566"/>
                </a:cubicBezTo>
                <a:lnTo>
                  <a:pt x="1720" y="1720"/>
                </a:lnTo>
                <a:cubicBezTo>
                  <a:pt x="1566" y="1720"/>
                  <a:pt x="1617" y="1720"/>
                  <a:pt x="1566" y="1720"/>
                </a:cubicBezTo>
                <a:lnTo>
                  <a:pt x="1566" y="1566"/>
                </a:lnTo>
                <a:close/>
                <a:moveTo>
                  <a:pt x="1566" y="1765"/>
                </a:moveTo>
                <a:lnTo>
                  <a:pt x="1566" y="1765"/>
                </a:lnTo>
                <a:cubicBezTo>
                  <a:pt x="1720" y="1765"/>
                  <a:pt x="1669" y="1765"/>
                  <a:pt x="1720" y="1765"/>
                </a:cubicBezTo>
                <a:lnTo>
                  <a:pt x="1720" y="1897"/>
                </a:lnTo>
                <a:cubicBezTo>
                  <a:pt x="1566" y="1897"/>
                  <a:pt x="1617" y="1897"/>
                  <a:pt x="1566" y="1897"/>
                </a:cubicBezTo>
                <a:lnTo>
                  <a:pt x="1566" y="1765"/>
                </a:lnTo>
                <a:close/>
                <a:moveTo>
                  <a:pt x="1566" y="1963"/>
                </a:moveTo>
                <a:lnTo>
                  <a:pt x="1566" y="1963"/>
                </a:lnTo>
                <a:cubicBezTo>
                  <a:pt x="1720" y="1963"/>
                  <a:pt x="1669" y="1963"/>
                  <a:pt x="1720" y="1963"/>
                </a:cubicBezTo>
                <a:lnTo>
                  <a:pt x="1720" y="2096"/>
                </a:lnTo>
                <a:cubicBezTo>
                  <a:pt x="1566" y="2096"/>
                  <a:pt x="1617" y="2096"/>
                  <a:pt x="1566" y="2096"/>
                </a:cubicBezTo>
                <a:lnTo>
                  <a:pt x="1566" y="1963"/>
                </a:lnTo>
                <a:close/>
                <a:moveTo>
                  <a:pt x="1367" y="1566"/>
                </a:moveTo>
                <a:lnTo>
                  <a:pt x="1367" y="1566"/>
                </a:lnTo>
                <a:lnTo>
                  <a:pt x="1522" y="1566"/>
                </a:lnTo>
                <a:lnTo>
                  <a:pt x="1522" y="1720"/>
                </a:lnTo>
                <a:lnTo>
                  <a:pt x="1367" y="1720"/>
                </a:lnTo>
                <a:lnTo>
                  <a:pt x="1367" y="1566"/>
                </a:lnTo>
                <a:close/>
                <a:moveTo>
                  <a:pt x="1367" y="1765"/>
                </a:moveTo>
                <a:lnTo>
                  <a:pt x="1367" y="1765"/>
                </a:lnTo>
                <a:lnTo>
                  <a:pt x="1522" y="1765"/>
                </a:lnTo>
                <a:lnTo>
                  <a:pt x="1522" y="1897"/>
                </a:lnTo>
                <a:lnTo>
                  <a:pt x="1367" y="1897"/>
                </a:lnTo>
                <a:lnTo>
                  <a:pt x="1367" y="1765"/>
                </a:lnTo>
                <a:close/>
                <a:moveTo>
                  <a:pt x="1367" y="1963"/>
                </a:moveTo>
                <a:lnTo>
                  <a:pt x="1367" y="1963"/>
                </a:lnTo>
                <a:lnTo>
                  <a:pt x="1522" y="1963"/>
                </a:lnTo>
                <a:lnTo>
                  <a:pt x="1522" y="2096"/>
                </a:lnTo>
                <a:lnTo>
                  <a:pt x="1367" y="2096"/>
                </a:lnTo>
                <a:lnTo>
                  <a:pt x="1367" y="1963"/>
                </a:lnTo>
                <a:close/>
                <a:moveTo>
                  <a:pt x="1169" y="1566"/>
                </a:moveTo>
                <a:lnTo>
                  <a:pt x="1169" y="1566"/>
                </a:lnTo>
                <a:lnTo>
                  <a:pt x="1323" y="1566"/>
                </a:lnTo>
                <a:lnTo>
                  <a:pt x="1323" y="1720"/>
                </a:lnTo>
                <a:lnTo>
                  <a:pt x="1169" y="1720"/>
                </a:lnTo>
                <a:lnTo>
                  <a:pt x="1169" y="1566"/>
                </a:lnTo>
                <a:close/>
                <a:moveTo>
                  <a:pt x="1169" y="1765"/>
                </a:moveTo>
                <a:lnTo>
                  <a:pt x="1169" y="1765"/>
                </a:lnTo>
                <a:lnTo>
                  <a:pt x="1323" y="1765"/>
                </a:lnTo>
                <a:lnTo>
                  <a:pt x="1323" y="1897"/>
                </a:lnTo>
                <a:lnTo>
                  <a:pt x="1169" y="1897"/>
                </a:lnTo>
                <a:lnTo>
                  <a:pt x="1169" y="1765"/>
                </a:lnTo>
                <a:close/>
                <a:moveTo>
                  <a:pt x="1169" y="1963"/>
                </a:moveTo>
                <a:lnTo>
                  <a:pt x="1169" y="1963"/>
                </a:lnTo>
                <a:lnTo>
                  <a:pt x="1323" y="1963"/>
                </a:lnTo>
                <a:lnTo>
                  <a:pt x="1323" y="2096"/>
                </a:lnTo>
                <a:lnTo>
                  <a:pt x="1169" y="2096"/>
                </a:lnTo>
                <a:lnTo>
                  <a:pt x="1169" y="1963"/>
                </a:lnTo>
                <a:close/>
                <a:moveTo>
                  <a:pt x="970" y="1566"/>
                </a:moveTo>
                <a:lnTo>
                  <a:pt x="970" y="1566"/>
                </a:lnTo>
                <a:lnTo>
                  <a:pt x="1124" y="1566"/>
                </a:lnTo>
                <a:lnTo>
                  <a:pt x="1124" y="1720"/>
                </a:lnTo>
                <a:lnTo>
                  <a:pt x="970" y="1720"/>
                </a:lnTo>
                <a:lnTo>
                  <a:pt x="970" y="1566"/>
                </a:lnTo>
                <a:close/>
                <a:moveTo>
                  <a:pt x="970" y="1765"/>
                </a:moveTo>
                <a:lnTo>
                  <a:pt x="970" y="1765"/>
                </a:lnTo>
                <a:lnTo>
                  <a:pt x="1124" y="1765"/>
                </a:lnTo>
                <a:lnTo>
                  <a:pt x="1124" y="1897"/>
                </a:lnTo>
                <a:lnTo>
                  <a:pt x="970" y="1897"/>
                </a:lnTo>
                <a:lnTo>
                  <a:pt x="970" y="1765"/>
                </a:lnTo>
                <a:close/>
                <a:moveTo>
                  <a:pt x="970" y="1963"/>
                </a:moveTo>
                <a:lnTo>
                  <a:pt x="970" y="1963"/>
                </a:lnTo>
                <a:lnTo>
                  <a:pt x="1124" y="1963"/>
                </a:lnTo>
                <a:lnTo>
                  <a:pt x="1124" y="2096"/>
                </a:lnTo>
                <a:lnTo>
                  <a:pt x="970" y="2096"/>
                </a:lnTo>
                <a:lnTo>
                  <a:pt x="970" y="1963"/>
                </a:lnTo>
                <a:close/>
                <a:moveTo>
                  <a:pt x="771" y="1566"/>
                </a:moveTo>
                <a:lnTo>
                  <a:pt x="771" y="1566"/>
                </a:lnTo>
                <a:lnTo>
                  <a:pt x="926" y="1566"/>
                </a:lnTo>
                <a:lnTo>
                  <a:pt x="926" y="1720"/>
                </a:lnTo>
                <a:lnTo>
                  <a:pt x="771" y="1720"/>
                </a:lnTo>
                <a:lnTo>
                  <a:pt x="771" y="1566"/>
                </a:lnTo>
                <a:close/>
                <a:moveTo>
                  <a:pt x="771" y="1765"/>
                </a:moveTo>
                <a:lnTo>
                  <a:pt x="771" y="1765"/>
                </a:lnTo>
                <a:lnTo>
                  <a:pt x="926" y="1765"/>
                </a:lnTo>
                <a:lnTo>
                  <a:pt x="926" y="1897"/>
                </a:lnTo>
                <a:lnTo>
                  <a:pt x="771" y="1897"/>
                </a:lnTo>
                <a:lnTo>
                  <a:pt x="771" y="1765"/>
                </a:lnTo>
                <a:close/>
                <a:moveTo>
                  <a:pt x="771" y="1963"/>
                </a:moveTo>
                <a:lnTo>
                  <a:pt x="771" y="1963"/>
                </a:lnTo>
                <a:lnTo>
                  <a:pt x="926" y="1963"/>
                </a:lnTo>
                <a:lnTo>
                  <a:pt x="926" y="2096"/>
                </a:lnTo>
                <a:lnTo>
                  <a:pt x="771" y="2096"/>
                </a:lnTo>
                <a:lnTo>
                  <a:pt x="771" y="1963"/>
                </a:lnTo>
                <a:close/>
                <a:moveTo>
                  <a:pt x="573" y="1566"/>
                </a:moveTo>
                <a:lnTo>
                  <a:pt x="573" y="1566"/>
                </a:lnTo>
                <a:lnTo>
                  <a:pt x="728" y="1566"/>
                </a:lnTo>
                <a:lnTo>
                  <a:pt x="728" y="1720"/>
                </a:lnTo>
                <a:lnTo>
                  <a:pt x="573" y="1720"/>
                </a:lnTo>
                <a:lnTo>
                  <a:pt x="573" y="1566"/>
                </a:lnTo>
                <a:close/>
                <a:moveTo>
                  <a:pt x="573" y="1765"/>
                </a:moveTo>
                <a:lnTo>
                  <a:pt x="573" y="1765"/>
                </a:lnTo>
                <a:lnTo>
                  <a:pt x="728" y="1765"/>
                </a:lnTo>
                <a:lnTo>
                  <a:pt x="728" y="1897"/>
                </a:lnTo>
                <a:lnTo>
                  <a:pt x="573" y="1897"/>
                </a:lnTo>
                <a:lnTo>
                  <a:pt x="573" y="1765"/>
                </a:lnTo>
                <a:close/>
                <a:moveTo>
                  <a:pt x="573" y="1963"/>
                </a:moveTo>
                <a:lnTo>
                  <a:pt x="573" y="1963"/>
                </a:lnTo>
                <a:lnTo>
                  <a:pt x="728" y="1963"/>
                </a:lnTo>
                <a:lnTo>
                  <a:pt x="728" y="2096"/>
                </a:lnTo>
                <a:lnTo>
                  <a:pt x="573" y="2096"/>
                </a:lnTo>
                <a:lnTo>
                  <a:pt x="573" y="1963"/>
                </a:lnTo>
                <a:close/>
                <a:moveTo>
                  <a:pt x="375" y="1566"/>
                </a:moveTo>
                <a:lnTo>
                  <a:pt x="375" y="1566"/>
                </a:lnTo>
                <a:lnTo>
                  <a:pt x="507" y="1566"/>
                </a:lnTo>
                <a:lnTo>
                  <a:pt x="507" y="1720"/>
                </a:lnTo>
                <a:lnTo>
                  <a:pt x="375" y="1720"/>
                </a:lnTo>
                <a:lnTo>
                  <a:pt x="375" y="1566"/>
                </a:lnTo>
                <a:close/>
                <a:moveTo>
                  <a:pt x="375" y="1765"/>
                </a:moveTo>
                <a:lnTo>
                  <a:pt x="375" y="1765"/>
                </a:lnTo>
                <a:lnTo>
                  <a:pt x="507" y="1765"/>
                </a:lnTo>
                <a:lnTo>
                  <a:pt x="507" y="1897"/>
                </a:lnTo>
                <a:lnTo>
                  <a:pt x="375" y="1897"/>
                </a:lnTo>
                <a:lnTo>
                  <a:pt x="375" y="1765"/>
                </a:lnTo>
                <a:close/>
                <a:moveTo>
                  <a:pt x="375" y="1963"/>
                </a:moveTo>
                <a:lnTo>
                  <a:pt x="375" y="1963"/>
                </a:lnTo>
                <a:lnTo>
                  <a:pt x="507" y="1963"/>
                </a:lnTo>
                <a:lnTo>
                  <a:pt x="507" y="2096"/>
                </a:lnTo>
                <a:lnTo>
                  <a:pt x="375" y="2096"/>
                </a:lnTo>
                <a:lnTo>
                  <a:pt x="375" y="1963"/>
                </a:lnTo>
                <a:close/>
                <a:moveTo>
                  <a:pt x="2338" y="2691"/>
                </a:moveTo>
                <a:lnTo>
                  <a:pt x="2338" y="2691"/>
                </a:lnTo>
                <a:lnTo>
                  <a:pt x="154" y="2691"/>
                </a:lnTo>
                <a:lnTo>
                  <a:pt x="154" y="2625"/>
                </a:lnTo>
                <a:lnTo>
                  <a:pt x="2338" y="2625"/>
                </a:lnTo>
                <a:lnTo>
                  <a:pt x="2338" y="2691"/>
                </a:lnTo>
                <a:close/>
                <a:moveTo>
                  <a:pt x="2338" y="2448"/>
                </a:moveTo>
                <a:lnTo>
                  <a:pt x="2338" y="2448"/>
                </a:lnTo>
                <a:lnTo>
                  <a:pt x="154" y="2448"/>
                </a:lnTo>
                <a:lnTo>
                  <a:pt x="154" y="2383"/>
                </a:lnTo>
                <a:lnTo>
                  <a:pt x="2338" y="2383"/>
                </a:lnTo>
                <a:lnTo>
                  <a:pt x="2338" y="2448"/>
                </a:lnTo>
                <a:close/>
                <a:moveTo>
                  <a:pt x="3000" y="2691"/>
                </a:moveTo>
                <a:lnTo>
                  <a:pt x="3000" y="2691"/>
                </a:lnTo>
                <a:lnTo>
                  <a:pt x="2647" y="2691"/>
                </a:lnTo>
                <a:lnTo>
                  <a:pt x="2647" y="2625"/>
                </a:lnTo>
                <a:lnTo>
                  <a:pt x="3000" y="2625"/>
                </a:lnTo>
                <a:lnTo>
                  <a:pt x="3000" y="2691"/>
                </a:lnTo>
                <a:close/>
                <a:moveTo>
                  <a:pt x="3000" y="2448"/>
                </a:moveTo>
                <a:lnTo>
                  <a:pt x="3000" y="2448"/>
                </a:lnTo>
                <a:lnTo>
                  <a:pt x="2647" y="2448"/>
                </a:lnTo>
                <a:lnTo>
                  <a:pt x="2647" y="2383"/>
                </a:lnTo>
                <a:lnTo>
                  <a:pt x="3000" y="2383"/>
                </a:lnTo>
                <a:lnTo>
                  <a:pt x="3000" y="2448"/>
                </a:lnTo>
                <a:close/>
                <a:moveTo>
                  <a:pt x="3000" y="2206"/>
                </a:moveTo>
                <a:lnTo>
                  <a:pt x="3000" y="2206"/>
                </a:lnTo>
                <a:lnTo>
                  <a:pt x="2647" y="2206"/>
                </a:lnTo>
                <a:lnTo>
                  <a:pt x="2647" y="2140"/>
                </a:lnTo>
                <a:lnTo>
                  <a:pt x="3000" y="2140"/>
                </a:lnTo>
                <a:lnTo>
                  <a:pt x="3000" y="2206"/>
                </a:lnTo>
                <a:close/>
                <a:moveTo>
                  <a:pt x="3662" y="2691"/>
                </a:moveTo>
                <a:lnTo>
                  <a:pt x="3662" y="2691"/>
                </a:lnTo>
                <a:cubicBezTo>
                  <a:pt x="3353" y="2691"/>
                  <a:pt x="3456" y="2691"/>
                  <a:pt x="3353" y="2691"/>
                </a:cubicBezTo>
                <a:lnTo>
                  <a:pt x="3353" y="2625"/>
                </a:lnTo>
                <a:cubicBezTo>
                  <a:pt x="3662" y="2625"/>
                  <a:pt x="3559" y="2625"/>
                  <a:pt x="3662" y="2625"/>
                </a:cubicBezTo>
                <a:lnTo>
                  <a:pt x="3662" y="2691"/>
                </a:lnTo>
                <a:close/>
                <a:moveTo>
                  <a:pt x="3662" y="2448"/>
                </a:moveTo>
                <a:lnTo>
                  <a:pt x="3662" y="2448"/>
                </a:lnTo>
                <a:cubicBezTo>
                  <a:pt x="3353" y="2448"/>
                  <a:pt x="3456" y="2448"/>
                  <a:pt x="3353" y="2448"/>
                </a:cubicBezTo>
                <a:lnTo>
                  <a:pt x="3353" y="2383"/>
                </a:lnTo>
                <a:cubicBezTo>
                  <a:pt x="3662" y="2383"/>
                  <a:pt x="3559" y="2383"/>
                  <a:pt x="3662" y="2383"/>
                </a:cubicBezTo>
                <a:lnTo>
                  <a:pt x="3662" y="2448"/>
                </a:lnTo>
                <a:close/>
                <a:moveTo>
                  <a:pt x="3662" y="2206"/>
                </a:moveTo>
                <a:lnTo>
                  <a:pt x="3662" y="2206"/>
                </a:lnTo>
                <a:cubicBezTo>
                  <a:pt x="3353" y="2206"/>
                  <a:pt x="3456" y="2206"/>
                  <a:pt x="3353" y="2206"/>
                </a:cubicBezTo>
                <a:lnTo>
                  <a:pt x="3353" y="2140"/>
                </a:lnTo>
                <a:cubicBezTo>
                  <a:pt x="3662" y="2140"/>
                  <a:pt x="3559" y="2140"/>
                  <a:pt x="3662" y="2140"/>
                </a:cubicBezTo>
                <a:lnTo>
                  <a:pt x="3662" y="2206"/>
                </a:lnTo>
                <a:close/>
                <a:moveTo>
                  <a:pt x="2493" y="1059"/>
                </a:moveTo>
                <a:lnTo>
                  <a:pt x="2493" y="1059"/>
                </a:lnTo>
                <a:lnTo>
                  <a:pt x="2183" y="1059"/>
                </a:lnTo>
                <a:lnTo>
                  <a:pt x="2183" y="198"/>
                </a:lnTo>
                <a:cubicBezTo>
                  <a:pt x="2206" y="198"/>
                  <a:pt x="2198" y="198"/>
                  <a:pt x="2206" y="198"/>
                </a:cubicBezTo>
                <a:cubicBezTo>
                  <a:pt x="2213" y="191"/>
                  <a:pt x="2228" y="198"/>
                  <a:pt x="2228" y="176"/>
                </a:cubicBezTo>
                <a:lnTo>
                  <a:pt x="2228" y="22"/>
                </a:lnTo>
                <a:lnTo>
                  <a:pt x="2206" y="0"/>
                </a:lnTo>
                <a:lnTo>
                  <a:pt x="1830" y="0"/>
                </a:lnTo>
                <a:lnTo>
                  <a:pt x="1808" y="22"/>
                </a:lnTo>
                <a:lnTo>
                  <a:pt x="1808" y="176"/>
                </a:lnTo>
                <a:cubicBezTo>
                  <a:pt x="1808" y="198"/>
                  <a:pt x="1823" y="191"/>
                  <a:pt x="1830" y="198"/>
                </a:cubicBezTo>
                <a:cubicBezTo>
                  <a:pt x="1853" y="198"/>
                  <a:pt x="1845" y="198"/>
                  <a:pt x="1853" y="198"/>
                </a:cubicBezTo>
                <a:lnTo>
                  <a:pt x="1853" y="1059"/>
                </a:lnTo>
                <a:cubicBezTo>
                  <a:pt x="1412" y="1059"/>
                  <a:pt x="1559" y="1059"/>
                  <a:pt x="1412" y="1059"/>
                </a:cubicBezTo>
                <a:lnTo>
                  <a:pt x="1412" y="198"/>
                </a:lnTo>
                <a:lnTo>
                  <a:pt x="1412" y="198"/>
                </a:lnTo>
                <a:cubicBezTo>
                  <a:pt x="1434" y="198"/>
                  <a:pt x="1455" y="198"/>
                  <a:pt x="1455" y="176"/>
                </a:cubicBezTo>
                <a:lnTo>
                  <a:pt x="1455" y="22"/>
                </a:lnTo>
                <a:cubicBezTo>
                  <a:pt x="1441" y="15"/>
                  <a:pt x="1434" y="0"/>
                  <a:pt x="1412" y="0"/>
                </a:cubicBezTo>
                <a:lnTo>
                  <a:pt x="1059" y="0"/>
                </a:lnTo>
                <a:cubicBezTo>
                  <a:pt x="1036" y="0"/>
                  <a:pt x="1044" y="15"/>
                  <a:pt x="1036" y="22"/>
                </a:cubicBezTo>
                <a:lnTo>
                  <a:pt x="1036" y="176"/>
                </a:lnTo>
                <a:cubicBezTo>
                  <a:pt x="1036" y="198"/>
                  <a:pt x="1036" y="198"/>
                  <a:pt x="1059" y="198"/>
                </a:cubicBezTo>
                <a:lnTo>
                  <a:pt x="1081" y="198"/>
                </a:lnTo>
                <a:lnTo>
                  <a:pt x="1059" y="1059"/>
                </a:lnTo>
                <a:lnTo>
                  <a:pt x="617" y="1059"/>
                </a:lnTo>
                <a:lnTo>
                  <a:pt x="617" y="198"/>
                </a:lnTo>
                <a:lnTo>
                  <a:pt x="617" y="198"/>
                </a:lnTo>
                <a:cubicBezTo>
                  <a:pt x="639" y="198"/>
                  <a:pt x="661" y="198"/>
                  <a:pt x="661" y="176"/>
                </a:cubicBezTo>
                <a:lnTo>
                  <a:pt x="661" y="22"/>
                </a:lnTo>
                <a:cubicBezTo>
                  <a:pt x="646" y="15"/>
                  <a:pt x="639" y="0"/>
                  <a:pt x="617" y="0"/>
                </a:cubicBezTo>
                <a:lnTo>
                  <a:pt x="264" y="0"/>
                </a:lnTo>
                <a:cubicBezTo>
                  <a:pt x="242" y="0"/>
                  <a:pt x="249" y="15"/>
                  <a:pt x="242" y="22"/>
                </a:cubicBezTo>
                <a:lnTo>
                  <a:pt x="242" y="176"/>
                </a:lnTo>
                <a:cubicBezTo>
                  <a:pt x="242" y="198"/>
                  <a:pt x="242" y="198"/>
                  <a:pt x="264" y="198"/>
                </a:cubicBezTo>
                <a:lnTo>
                  <a:pt x="286" y="198"/>
                </a:lnTo>
                <a:lnTo>
                  <a:pt x="264" y="1059"/>
                </a:lnTo>
                <a:lnTo>
                  <a:pt x="0" y="1059"/>
                </a:lnTo>
                <a:lnTo>
                  <a:pt x="0" y="1191"/>
                </a:lnTo>
                <a:lnTo>
                  <a:pt x="2493" y="1191"/>
                </a:lnTo>
                <a:lnTo>
                  <a:pt x="2493" y="1059"/>
                </a:lnTo>
                <a:close/>
              </a:path>
            </a:pathLst>
          </a:custGeom>
          <a:solidFill>
            <a:srgbClr val="8A002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295442" y="4056606"/>
            <a:ext cx="1675784" cy="480131"/>
          </a:xfrm>
          <a:prstGeom prst="rect">
            <a:avLst/>
          </a:prstGeom>
        </p:spPr>
        <p:txBody>
          <a:bodyPr vert="horz"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 dirty="0" smtClean="0">
                <a:solidFill>
                  <a:srgbClr val="8A0021"/>
                </a:solidFill>
                <a:latin typeface="Helvetica" panose="020B0604020202020204" pitchFamily="34" charset="0"/>
                <a:ea typeface="Graphik" charset="0"/>
                <a:cs typeface="Helvetica" panose="020B0604020202020204" pitchFamily="34" charset="0"/>
              </a:rPr>
              <a:t>ENERGY &amp;</a:t>
            </a:r>
          </a:p>
          <a:p>
            <a:pPr algn="ctr">
              <a:lnSpc>
                <a:spcPct val="90000"/>
              </a:lnSpc>
            </a:pPr>
            <a:r>
              <a:rPr lang="en-US" sz="1400" dirty="0" smtClean="0">
                <a:solidFill>
                  <a:srgbClr val="8A0021"/>
                </a:solidFill>
                <a:latin typeface="Helvetica" panose="020B0604020202020204" pitchFamily="34" charset="0"/>
                <a:ea typeface="Graphik" charset="0"/>
                <a:cs typeface="Helvetica" panose="020B0604020202020204" pitchFamily="34" charset="0"/>
              </a:rPr>
              <a:t>ENVIRONMENT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5269283" y="3080714"/>
            <a:ext cx="1041831" cy="951889"/>
            <a:chOff x="5207910" y="2425407"/>
            <a:chExt cx="1041831" cy="856700"/>
          </a:xfrm>
        </p:grpSpPr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07910" y="2626120"/>
              <a:ext cx="628575" cy="652085"/>
            </a:xfrm>
            <a:prstGeom prst="rect">
              <a:avLst/>
            </a:prstGeom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86195" y="2425407"/>
              <a:ext cx="442905" cy="401426"/>
            </a:xfrm>
            <a:prstGeom prst="rect">
              <a:avLst/>
            </a:prstGeom>
          </p:spPr>
        </p:pic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29447" y="2871835"/>
              <a:ext cx="320294" cy="410272"/>
            </a:xfrm>
            <a:prstGeom prst="rect">
              <a:avLst/>
            </a:prstGeom>
          </p:spPr>
        </p:pic>
      </p:grpSp>
      <p:sp>
        <p:nvSpPr>
          <p:cNvPr id="37" name="TextBox 36"/>
          <p:cNvSpPr txBox="1"/>
          <p:nvPr/>
        </p:nvSpPr>
        <p:spPr>
          <a:xfrm>
            <a:off x="4890201" y="4164272"/>
            <a:ext cx="1799968" cy="286232"/>
          </a:xfrm>
          <a:prstGeom prst="rect">
            <a:avLst/>
          </a:prstGeom>
        </p:spPr>
        <p:txBody>
          <a:bodyPr vert="horz"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 dirty="0" smtClean="0">
                <a:solidFill>
                  <a:srgbClr val="8A0021"/>
                </a:solidFill>
                <a:latin typeface="Helvetica" panose="020B0604020202020204" pitchFamily="34" charset="0"/>
                <a:ea typeface="Graphik" charset="0"/>
                <a:cs typeface="Helvetica" panose="020B0604020202020204" pitchFamily="34" charset="0"/>
              </a:rPr>
              <a:t>CRIME</a:t>
            </a:r>
            <a:endParaRPr lang="en-US" sz="1400" dirty="0">
              <a:solidFill>
                <a:srgbClr val="8A0021"/>
              </a:solidFill>
              <a:latin typeface="Helvetica" panose="020B0604020202020204" pitchFamily="34" charset="0"/>
              <a:ea typeface="Graphik" charset="0"/>
              <a:cs typeface="Helvetica" panose="020B0604020202020204" pitchFamily="34" charset="0"/>
            </a:endParaRPr>
          </a:p>
        </p:txBody>
      </p:sp>
      <p:grpSp>
        <p:nvGrpSpPr>
          <p:cNvPr id="42" name="Group 41"/>
          <p:cNvGrpSpPr/>
          <p:nvPr/>
        </p:nvGrpSpPr>
        <p:grpSpPr>
          <a:xfrm>
            <a:off x="6787622" y="3005142"/>
            <a:ext cx="1796939" cy="1033284"/>
            <a:chOff x="6722917" y="2357393"/>
            <a:chExt cx="1796939" cy="929956"/>
          </a:xfrm>
        </p:grpSpPr>
        <p:sp>
          <p:nvSpPr>
            <p:cNvPr id="44" name="Freeform 18"/>
            <p:cNvSpPr>
              <a:spLocks noChangeArrowheads="1"/>
            </p:cNvSpPr>
            <p:nvPr/>
          </p:nvSpPr>
          <p:spPr bwMode="auto">
            <a:xfrm>
              <a:off x="6722917" y="2970717"/>
              <a:ext cx="509457" cy="316632"/>
            </a:xfrm>
            <a:custGeom>
              <a:avLst/>
              <a:gdLst>
                <a:gd name="T0" fmla="*/ 243 w 3156"/>
                <a:gd name="T1" fmla="*/ 927 h 1964"/>
                <a:gd name="T2" fmla="*/ 243 w 3156"/>
                <a:gd name="T3" fmla="*/ 441 h 1964"/>
                <a:gd name="T4" fmla="*/ 243 w 3156"/>
                <a:gd name="T5" fmla="*/ 927 h 1964"/>
                <a:gd name="T6" fmla="*/ 1920 w 3156"/>
                <a:gd name="T7" fmla="*/ 508 h 1964"/>
                <a:gd name="T8" fmla="*/ 2251 w 3156"/>
                <a:gd name="T9" fmla="*/ 243 h 1964"/>
                <a:gd name="T10" fmla="*/ 2428 w 3156"/>
                <a:gd name="T11" fmla="*/ 662 h 1964"/>
                <a:gd name="T12" fmla="*/ 1479 w 3156"/>
                <a:gd name="T13" fmla="*/ 574 h 1964"/>
                <a:gd name="T14" fmla="*/ 2428 w 3156"/>
                <a:gd name="T15" fmla="*/ 662 h 1964"/>
                <a:gd name="T16" fmla="*/ 1435 w 3156"/>
                <a:gd name="T17" fmla="*/ 508 h 1964"/>
                <a:gd name="T18" fmla="*/ 1788 w 3156"/>
                <a:gd name="T19" fmla="*/ 419 h 1964"/>
                <a:gd name="T20" fmla="*/ 1765 w 3156"/>
                <a:gd name="T21" fmla="*/ 331 h 1964"/>
                <a:gd name="T22" fmla="*/ 1347 w 3156"/>
                <a:gd name="T23" fmla="*/ 243 h 1964"/>
                <a:gd name="T24" fmla="*/ 1765 w 3156"/>
                <a:gd name="T25" fmla="*/ 331 h 1964"/>
                <a:gd name="T26" fmla="*/ 1567 w 3156"/>
                <a:gd name="T27" fmla="*/ 816 h 1964"/>
                <a:gd name="T28" fmla="*/ 2449 w 3156"/>
                <a:gd name="T29" fmla="*/ 728 h 1964"/>
                <a:gd name="T30" fmla="*/ 3023 w 3156"/>
                <a:gd name="T31" fmla="*/ 640 h 1964"/>
                <a:gd name="T32" fmla="*/ 2714 w 3156"/>
                <a:gd name="T33" fmla="*/ 640 h 1964"/>
                <a:gd name="T34" fmla="*/ 2383 w 3156"/>
                <a:gd name="T35" fmla="*/ 0 h 1964"/>
                <a:gd name="T36" fmla="*/ 1015 w 3156"/>
                <a:gd name="T37" fmla="*/ 22 h 1964"/>
                <a:gd name="T38" fmla="*/ 1104 w 3156"/>
                <a:gd name="T39" fmla="*/ 353 h 1964"/>
                <a:gd name="T40" fmla="*/ 684 w 3156"/>
                <a:gd name="T41" fmla="*/ 419 h 1964"/>
                <a:gd name="T42" fmla="*/ 552 w 3156"/>
                <a:gd name="T43" fmla="*/ 574 h 1964"/>
                <a:gd name="T44" fmla="*/ 552 w 3156"/>
                <a:gd name="T45" fmla="*/ 993 h 1964"/>
                <a:gd name="T46" fmla="*/ 67 w 3156"/>
                <a:gd name="T47" fmla="*/ 993 h 1964"/>
                <a:gd name="T48" fmla="*/ 353 w 3156"/>
                <a:gd name="T49" fmla="*/ 1942 h 1964"/>
                <a:gd name="T50" fmla="*/ 552 w 3156"/>
                <a:gd name="T51" fmla="*/ 1257 h 1964"/>
                <a:gd name="T52" fmla="*/ 552 w 3156"/>
                <a:gd name="T53" fmla="*/ 1610 h 1964"/>
                <a:gd name="T54" fmla="*/ 817 w 3156"/>
                <a:gd name="T55" fmla="*/ 1610 h 1964"/>
                <a:gd name="T56" fmla="*/ 817 w 3156"/>
                <a:gd name="T57" fmla="*/ 1257 h 1964"/>
                <a:gd name="T58" fmla="*/ 1677 w 3156"/>
                <a:gd name="T59" fmla="*/ 1412 h 1964"/>
                <a:gd name="T60" fmla="*/ 2207 w 3156"/>
                <a:gd name="T61" fmla="*/ 1920 h 1964"/>
                <a:gd name="T62" fmla="*/ 2406 w 3156"/>
                <a:gd name="T63" fmla="*/ 1721 h 1964"/>
                <a:gd name="T64" fmla="*/ 1942 w 3156"/>
                <a:gd name="T65" fmla="*/ 1037 h 1964"/>
                <a:gd name="T66" fmla="*/ 2030 w 3156"/>
                <a:gd name="T67" fmla="*/ 1257 h 1964"/>
                <a:gd name="T68" fmla="*/ 2582 w 3156"/>
                <a:gd name="T69" fmla="*/ 1942 h 1964"/>
                <a:gd name="T70" fmla="*/ 2869 w 3156"/>
                <a:gd name="T71" fmla="*/ 993 h 1964"/>
                <a:gd name="T72" fmla="*/ 3023 w 3156"/>
                <a:gd name="T73" fmla="*/ 904 h 1964"/>
                <a:gd name="T74" fmla="*/ 3023 w 3156"/>
                <a:gd name="T75" fmla="*/ 640 h 1964"/>
                <a:gd name="T76" fmla="*/ 817 w 3156"/>
                <a:gd name="T77" fmla="*/ 993 h 1964"/>
                <a:gd name="T78" fmla="*/ 1302 w 3156"/>
                <a:gd name="T79" fmla="*/ 927 h 1964"/>
                <a:gd name="T80" fmla="*/ 817 w 3156"/>
                <a:gd name="T81" fmla="*/ 993 h 1964"/>
                <a:gd name="T82" fmla="*/ 1457 w 3156"/>
                <a:gd name="T83" fmla="*/ 949 h 1964"/>
                <a:gd name="T84" fmla="*/ 2339 w 3156"/>
                <a:gd name="T85" fmla="*/ 133 h 1964"/>
                <a:gd name="T86" fmla="*/ 1457 w 3156"/>
                <a:gd name="T87" fmla="*/ 949 h 1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156" h="1964">
                  <a:moveTo>
                    <a:pt x="243" y="927"/>
                  </a:moveTo>
                  <a:lnTo>
                    <a:pt x="243" y="927"/>
                  </a:lnTo>
                  <a:cubicBezTo>
                    <a:pt x="376" y="927"/>
                    <a:pt x="486" y="816"/>
                    <a:pt x="486" y="684"/>
                  </a:cubicBezTo>
                  <a:cubicBezTo>
                    <a:pt x="486" y="551"/>
                    <a:pt x="376" y="441"/>
                    <a:pt x="243" y="441"/>
                  </a:cubicBezTo>
                  <a:cubicBezTo>
                    <a:pt x="111" y="441"/>
                    <a:pt x="0" y="551"/>
                    <a:pt x="0" y="684"/>
                  </a:cubicBezTo>
                  <a:cubicBezTo>
                    <a:pt x="0" y="816"/>
                    <a:pt x="111" y="927"/>
                    <a:pt x="243" y="927"/>
                  </a:cubicBezTo>
                  <a:close/>
                  <a:moveTo>
                    <a:pt x="2361" y="508"/>
                  </a:moveTo>
                  <a:lnTo>
                    <a:pt x="1920" y="508"/>
                  </a:lnTo>
                  <a:lnTo>
                    <a:pt x="1810" y="243"/>
                  </a:lnTo>
                  <a:lnTo>
                    <a:pt x="2251" y="243"/>
                  </a:lnTo>
                  <a:lnTo>
                    <a:pt x="2361" y="508"/>
                  </a:lnTo>
                  <a:close/>
                  <a:moveTo>
                    <a:pt x="2428" y="662"/>
                  </a:moveTo>
                  <a:lnTo>
                    <a:pt x="1501" y="662"/>
                  </a:lnTo>
                  <a:lnTo>
                    <a:pt x="1479" y="574"/>
                  </a:lnTo>
                  <a:lnTo>
                    <a:pt x="2383" y="574"/>
                  </a:lnTo>
                  <a:lnTo>
                    <a:pt x="2428" y="662"/>
                  </a:lnTo>
                  <a:close/>
                  <a:moveTo>
                    <a:pt x="1832" y="508"/>
                  </a:moveTo>
                  <a:lnTo>
                    <a:pt x="1435" y="508"/>
                  </a:lnTo>
                  <a:lnTo>
                    <a:pt x="1412" y="419"/>
                  </a:lnTo>
                  <a:lnTo>
                    <a:pt x="1788" y="419"/>
                  </a:lnTo>
                  <a:lnTo>
                    <a:pt x="1832" y="508"/>
                  </a:lnTo>
                  <a:close/>
                  <a:moveTo>
                    <a:pt x="1765" y="331"/>
                  </a:moveTo>
                  <a:lnTo>
                    <a:pt x="1390" y="331"/>
                  </a:lnTo>
                  <a:lnTo>
                    <a:pt x="1347" y="243"/>
                  </a:lnTo>
                  <a:lnTo>
                    <a:pt x="1722" y="243"/>
                  </a:lnTo>
                  <a:lnTo>
                    <a:pt x="1765" y="331"/>
                  </a:lnTo>
                  <a:close/>
                  <a:moveTo>
                    <a:pt x="2494" y="816"/>
                  </a:moveTo>
                  <a:lnTo>
                    <a:pt x="1567" y="816"/>
                  </a:lnTo>
                  <a:lnTo>
                    <a:pt x="1523" y="728"/>
                  </a:lnTo>
                  <a:lnTo>
                    <a:pt x="2449" y="728"/>
                  </a:lnTo>
                  <a:lnTo>
                    <a:pt x="2494" y="816"/>
                  </a:lnTo>
                  <a:close/>
                  <a:moveTo>
                    <a:pt x="3023" y="640"/>
                  </a:moveTo>
                  <a:lnTo>
                    <a:pt x="3023" y="640"/>
                  </a:lnTo>
                  <a:lnTo>
                    <a:pt x="2714" y="640"/>
                  </a:lnTo>
                  <a:lnTo>
                    <a:pt x="2449" y="22"/>
                  </a:lnTo>
                  <a:cubicBezTo>
                    <a:pt x="2449" y="0"/>
                    <a:pt x="2406" y="0"/>
                    <a:pt x="2383" y="0"/>
                  </a:cubicBezTo>
                  <a:lnTo>
                    <a:pt x="1059" y="0"/>
                  </a:lnTo>
                  <a:cubicBezTo>
                    <a:pt x="1037" y="0"/>
                    <a:pt x="1015" y="0"/>
                    <a:pt x="1015" y="22"/>
                  </a:cubicBezTo>
                  <a:lnTo>
                    <a:pt x="839" y="353"/>
                  </a:lnTo>
                  <a:lnTo>
                    <a:pt x="1104" y="353"/>
                  </a:lnTo>
                  <a:lnTo>
                    <a:pt x="1126" y="419"/>
                  </a:lnTo>
                  <a:cubicBezTo>
                    <a:pt x="684" y="419"/>
                    <a:pt x="831" y="419"/>
                    <a:pt x="684" y="419"/>
                  </a:cubicBezTo>
                  <a:lnTo>
                    <a:pt x="684" y="419"/>
                  </a:lnTo>
                  <a:cubicBezTo>
                    <a:pt x="618" y="441"/>
                    <a:pt x="552" y="486"/>
                    <a:pt x="552" y="574"/>
                  </a:cubicBezTo>
                  <a:lnTo>
                    <a:pt x="552" y="794"/>
                  </a:lnTo>
                  <a:lnTo>
                    <a:pt x="552" y="993"/>
                  </a:lnTo>
                  <a:lnTo>
                    <a:pt x="353" y="993"/>
                  </a:lnTo>
                  <a:lnTo>
                    <a:pt x="67" y="993"/>
                  </a:lnTo>
                  <a:lnTo>
                    <a:pt x="88" y="1942"/>
                  </a:lnTo>
                  <a:lnTo>
                    <a:pt x="353" y="1942"/>
                  </a:lnTo>
                  <a:lnTo>
                    <a:pt x="353" y="1257"/>
                  </a:lnTo>
                  <a:lnTo>
                    <a:pt x="552" y="1257"/>
                  </a:lnTo>
                  <a:lnTo>
                    <a:pt x="552" y="1390"/>
                  </a:lnTo>
                  <a:lnTo>
                    <a:pt x="552" y="1610"/>
                  </a:lnTo>
                  <a:cubicBezTo>
                    <a:pt x="552" y="1699"/>
                    <a:pt x="618" y="1765"/>
                    <a:pt x="684" y="1765"/>
                  </a:cubicBezTo>
                  <a:cubicBezTo>
                    <a:pt x="773" y="1765"/>
                    <a:pt x="817" y="1699"/>
                    <a:pt x="817" y="1610"/>
                  </a:cubicBezTo>
                  <a:lnTo>
                    <a:pt x="817" y="1390"/>
                  </a:lnTo>
                  <a:lnTo>
                    <a:pt x="817" y="1257"/>
                  </a:lnTo>
                  <a:cubicBezTo>
                    <a:pt x="1677" y="1257"/>
                    <a:pt x="1390" y="1257"/>
                    <a:pt x="1677" y="1257"/>
                  </a:cubicBezTo>
                  <a:cubicBezTo>
                    <a:pt x="1677" y="1412"/>
                    <a:pt x="1677" y="1361"/>
                    <a:pt x="1677" y="1412"/>
                  </a:cubicBezTo>
                  <a:cubicBezTo>
                    <a:pt x="1677" y="1478"/>
                    <a:pt x="1707" y="1486"/>
                    <a:pt x="1722" y="1522"/>
                  </a:cubicBezTo>
                  <a:lnTo>
                    <a:pt x="2207" y="1920"/>
                  </a:lnTo>
                  <a:cubicBezTo>
                    <a:pt x="2273" y="1963"/>
                    <a:pt x="2361" y="1963"/>
                    <a:pt x="2406" y="1898"/>
                  </a:cubicBezTo>
                  <a:cubicBezTo>
                    <a:pt x="2449" y="1853"/>
                    <a:pt x="2449" y="1765"/>
                    <a:pt x="2406" y="1721"/>
                  </a:cubicBezTo>
                  <a:lnTo>
                    <a:pt x="1942" y="1346"/>
                  </a:lnTo>
                  <a:lnTo>
                    <a:pt x="1942" y="1037"/>
                  </a:lnTo>
                  <a:cubicBezTo>
                    <a:pt x="2030" y="1037"/>
                    <a:pt x="2001" y="1037"/>
                    <a:pt x="2030" y="1037"/>
                  </a:cubicBezTo>
                  <a:lnTo>
                    <a:pt x="2030" y="1257"/>
                  </a:lnTo>
                  <a:lnTo>
                    <a:pt x="2582" y="1257"/>
                  </a:lnTo>
                  <a:lnTo>
                    <a:pt x="2582" y="1942"/>
                  </a:lnTo>
                  <a:lnTo>
                    <a:pt x="2869" y="1942"/>
                  </a:lnTo>
                  <a:lnTo>
                    <a:pt x="2869" y="993"/>
                  </a:lnTo>
                  <a:lnTo>
                    <a:pt x="2824" y="904"/>
                  </a:lnTo>
                  <a:lnTo>
                    <a:pt x="3023" y="904"/>
                  </a:lnTo>
                  <a:cubicBezTo>
                    <a:pt x="3089" y="904"/>
                    <a:pt x="3155" y="861"/>
                    <a:pt x="3155" y="772"/>
                  </a:cubicBezTo>
                  <a:cubicBezTo>
                    <a:pt x="3155" y="706"/>
                    <a:pt x="3089" y="640"/>
                    <a:pt x="3023" y="640"/>
                  </a:cubicBezTo>
                  <a:close/>
                  <a:moveTo>
                    <a:pt x="817" y="993"/>
                  </a:moveTo>
                  <a:lnTo>
                    <a:pt x="817" y="993"/>
                  </a:lnTo>
                  <a:lnTo>
                    <a:pt x="817" y="927"/>
                  </a:lnTo>
                  <a:lnTo>
                    <a:pt x="1302" y="927"/>
                  </a:lnTo>
                  <a:lnTo>
                    <a:pt x="1324" y="993"/>
                  </a:lnTo>
                  <a:lnTo>
                    <a:pt x="817" y="993"/>
                  </a:lnTo>
                  <a:close/>
                  <a:moveTo>
                    <a:pt x="1457" y="949"/>
                  </a:moveTo>
                  <a:lnTo>
                    <a:pt x="1457" y="949"/>
                  </a:lnTo>
                  <a:lnTo>
                    <a:pt x="1147" y="133"/>
                  </a:lnTo>
                  <a:lnTo>
                    <a:pt x="2339" y="133"/>
                  </a:lnTo>
                  <a:lnTo>
                    <a:pt x="2692" y="949"/>
                  </a:lnTo>
                  <a:lnTo>
                    <a:pt x="1457" y="949"/>
                  </a:lnTo>
                  <a:close/>
                </a:path>
              </a:pathLst>
            </a:custGeom>
            <a:solidFill>
              <a:srgbClr val="8A002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03042" y="2871679"/>
              <a:ext cx="216814" cy="406526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87152" y="2357393"/>
              <a:ext cx="1160441" cy="921194"/>
            </a:xfrm>
            <a:prstGeom prst="rect">
              <a:avLst/>
            </a:prstGeom>
          </p:spPr>
        </p:pic>
      </p:grpSp>
      <p:sp>
        <p:nvSpPr>
          <p:cNvPr id="43" name="TextBox 42"/>
          <p:cNvSpPr txBox="1"/>
          <p:nvPr/>
        </p:nvSpPr>
        <p:spPr>
          <a:xfrm>
            <a:off x="6749039" y="4164272"/>
            <a:ext cx="1874100" cy="286232"/>
          </a:xfrm>
          <a:prstGeom prst="rect">
            <a:avLst/>
          </a:prstGeom>
        </p:spPr>
        <p:txBody>
          <a:bodyPr vert="horz"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 dirty="0" smtClean="0">
                <a:solidFill>
                  <a:srgbClr val="8A0021"/>
                </a:solidFill>
                <a:latin typeface="Helvetica" panose="020B0604020202020204" pitchFamily="34" charset="0"/>
                <a:ea typeface="Graphik" charset="0"/>
                <a:cs typeface="Helvetica" panose="020B0604020202020204" pitchFamily="34" charset="0"/>
              </a:rPr>
              <a:t>POVERTY</a:t>
            </a:r>
            <a:endParaRPr lang="en-US" sz="1400" dirty="0">
              <a:solidFill>
                <a:srgbClr val="8A0021"/>
              </a:solidFill>
              <a:latin typeface="Helvetica" panose="020B0604020202020204" pitchFamily="34" charset="0"/>
              <a:ea typeface="Graphik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60440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2782700" y="955622"/>
            <a:ext cx="357860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dirty="0" smtClean="0">
                <a:solidFill>
                  <a:prstClr val="black"/>
                </a:solidFill>
                <a:latin typeface="Helvetica" panose="020B0604020202020204" pitchFamily="34" charset="0"/>
                <a:ea typeface="Graphik Light" charset="0"/>
                <a:cs typeface="Helvetica" panose="020B0604020202020204" pitchFamily="34" charset="0"/>
              </a:rPr>
              <a:t>WE WORK WITH CITIES TO:</a:t>
            </a:r>
            <a:endParaRPr lang="en-US" sz="2000" b="1" dirty="0">
              <a:solidFill>
                <a:srgbClr val="8A0021"/>
              </a:solidFill>
              <a:latin typeface="Helvetica" panose="020B0604020202020204" pitchFamily="34" charset="0"/>
              <a:ea typeface="Graphik Semibold" charset="0"/>
              <a:cs typeface="Helvetica" panose="020B0604020202020204" pitchFamily="34" charset="0"/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452197" y="1798799"/>
            <a:ext cx="2626668" cy="2201251"/>
            <a:chOff x="452197" y="1618919"/>
            <a:chExt cx="2626668" cy="1981125"/>
          </a:xfrm>
        </p:grpSpPr>
        <p:sp>
          <p:nvSpPr>
            <p:cNvPr id="18" name="Freeform 15"/>
            <p:cNvSpPr>
              <a:spLocks noChangeArrowheads="1"/>
            </p:cNvSpPr>
            <p:nvPr/>
          </p:nvSpPr>
          <p:spPr bwMode="auto">
            <a:xfrm>
              <a:off x="1297148" y="1618919"/>
              <a:ext cx="936766" cy="976110"/>
            </a:xfrm>
            <a:custGeom>
              <a:avLst/>
              <a:gdLst>
                <a:gd name="T0" fmla="*/ 1588 w 2207"/>
                <a:gd name="T1" fmla="*/ 1015 h 2296"/>
                <a:gd name="T2" fmla="*/ 816 w 2207"/>
                <a:gd name="T3" fmla="*/ 199 h 2296"/>
                <a:gd name="T4" fmla="*/ 684 w 2207"/>
                <a:gd name="T5" fmla="*/ 905 h 2296"/>
                <a:gd name="T6" fmla="*/ 132 w 2207"/>
                <a:gd name="T7" fmla="*/ 1655 h 2296"/>
                <a:gd name="T8" fmla="*/ 904 w 2207"/>
                <a:gd name="T9" fmla="*/ 1103 h 2296"/>
                <a:gd name="T10" fmla="*/ 1588 w 2207"/>
                <a:gd name="T11" fmla="*/ 1015 h 2296"/>
                <a:gd name="T12" fmla="*/ 926 w 2207"/>
                <a:gd name="T13" fmla="*/ 883 h 2296"/>
                <a:gd name="T14" fmla="*/ 1456 w 2207"/>
                <a:gd name="T15" fmla="*/ 353 h 2296"/>
                <a:gd name="T16" fmla="*/ 926 w 2207"/>
                <a:gd name="T17" fmla="*/ 883 h 2296"/>
                <a:gd name="T18" fmla="*/ 1963 w 2207"/>
                <a:gd name="T19" fmla="*/ 1964 h 2296"/>
                <a:gd name="T20" fmla="*/ 2096 w 2207"/>
                <a:gd name="T21" fmla="*/ 1919 h 2296"/>
                <a:gd name="T22" fmla="*/ 2051 w 2207"/>
                <a:gd name="T23" fmla="*/ 66 h 2296"/>
                <a:gd name="T24" fmla="*/ 1919 w 2207"/>
                <a:gd name="T25" fmla="*/ 110 h 2296"/>
                <a:gd name="T26" fmla="*/ 1963 w 2207"/>
                <a:gd name="T27" fmla="*/ 1964 h 2296"/>
                <a:gd name="T28" fmla="*/ 2162 w 2207"/>
                <a:gd name="T29" fmla="*/ 2096 h 2296"/>
                <a:gd name="T30" fmla="*/ 0 w 2207"/>
                <a:gd name="T31" fmla="*/ 2140 h 2296"/>
                <a:gd name="T32" fmla="*/ 43 w 2207"/>
                <a:gd name="T33" fmla="*/ 2295 h 2296"/>
                <a:gd name="T34" fmla="*/ 2206 w 2207"/>
                <a:gd name="T35" fmla="*/ 2250 h 2296"/>
                <a:gd name="T36" fmla="*/ 2162 w 2207"/>
                <a:gd name="T37" fmla="*/ 2096 h 2296"/>
                <a:gd name="T38" fmla="*/ 88 w 2207"/>
                <a:gd name="T39" fmla="*/ 1809 h 2296"/>
                <a:gd name="T40" fmla="*/ 132 w 2207"/>
                <a:gd name="T41" fmla="*/ 1964 h 2296"/>
                <a:gd name="T42" fmla="*/ 264 w 2207"/>
                <a:gd name="T43" fmla="*/ 1919 h 2296"/>
                <a:gd name="T44" fmla="*/ 264 w 2207"/>
                <a:gd name="T45" fmla="*/ 1831 h 2296"/>
                <a:gd name="T46" fmla="*/ 88 w 2207"/>
                <a:gd name="T47" fmla="*/ 1809 h 2296"/>
                <a:gd name="T48" fmla="*/ 551 w 2207"/>
                <a:gd name="T49" fmla="*/ 1699 h 2296"/>
                <a:gd name="T50" fmla="*/ 596 w 2207"/>
                <a:gd name="T51" fmla="*/ 1964 h 2296"/>
                <a:gd name="T52" fmla="*/ 728 w 2207"/>
                <a:gd name="T53" fmla="*/ 1919 h 2296"/>
                <a:gd name="T54" fmla="*/ 706 w 2207"/>
                <a:gd name="T55" fmla="*/ 1501 h 2296"/>
                <a:gd name="T56" fmla="*/ 551 w 2207"/>
                <a:gd name="T57" fmla="*/ 1699 h 2296"/>
                <a:gd name="T58" fmla="*/ 1456 w 2207"/>
                <a:gd name="T59" fmla="*/ 1236 h 2296"/>
                <a:gd name="T60" fmla="*/ 1500 w 2207"/>
                <a:gd name="T61" fmla="*/ 1964 h 2296"/>
                <a:gd name="T62" fmla="*/ 1655 w 2207"/>
                <a:gd name="T63" fmla="*/ 1919 h 2296"/>
                <a:gd name="T64" fmla="*/ 1632 w 2207"/>
                <a:gd name="T65" fmla="*/ 1125 h 2296"/>
                <a:gd name="T66" fmla="*/ 992 w 2207"/>
                <a:gd name="T67" fmla="*/ 1280 h 2296"/>
                <a:gd name="T68" fmla="*/ 992 w 2207"/>
                <a:gd name="T69" fmla="*/ 1919 h 2296"/>
                <a:gd name="T70" fmla="*/ 1147 w 2207"/>
                <a:gd name="T71" fmla="*/ 1964 h 2296"/>
                <a:gd name="T72" fmla="*/ 1191 w 2207"/>
                <a:gd name="T73" fmla="*/ 1302 h 2296"/>
                <a:gd name="T74" fmla="*/ 1014 w 2207"/>
                <a:gd name="T75" fmla="*/ 1280 h 2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207" h="2296">
                  <a:moveTo>
                    <a:pt x="1588" y="1015"/>
                  </a:moveTo>
                  <a:lnTo>
                    <a:pt x="1588" y="1015"/>
                  </a:lnTo>
                  <a:cubicBezTo>
                    <a:pt x="1809" y="795"/>
                    <a:pt x="1787" y="419"/>
                    <a:pt x="1566" y="221"/>
                  </a:cubicBezTo>
                  <a:cubicBezTo>
                    <a:pt x="1367" y="0"/>
                    <a:pt x="1037" y="0"/>
                    <a:pt x="816" y="199"/>
                  </a:cubicBezTo>
                  <a:cubicBezTo>
                    <a:pt x="617" y="375"/>
                    <a:pt x="573" y="662"/>
                    <a:pt x="684" y="883"/>
                  </a:cubicBezTo>
                  <a:cubicBezTo>
                    <a:pt x="706" y="883"/>
                    <a:pt x="706" y="883"/>
                    <a:pt x="684" y="905"/>
                  </a:cubicBezTo>
                  <a:lnTo>
                    <a:pt x="154" y="1390"/>
                  </a:lnTo>
                  <a:cubicBezTo>
                    <a:pt x="66" y="1456"/>
                    <a:pt x="66" y="1589"/>
                    <a:pt x="132" y="1655"/>
                  </a:cubicBezTo>
                  <a:cubicBezTo>
                    <a:pt x="198" y="1743"/>
                    <a:pt x="331" y="1743"/>
                    <a:pt x="396" y="1655"/>
                  </a:cubicBezTo>
                  <a:lnTo>
                    <a:pt x="904" y="1103"/>
                  </a:lnTo>
                  <a:lnTo>
                    <a:pt x="926" y="1103"/>
                  </a:lnTo>
                  <a:cubicBezTo>
                    <a:pt x="1125" y="1213"/>
                    <a:pt x="1412" y="1191"/>
                    <a:pt x="1588" y="1015"/>
                  </a:cubicBezTo>
                  <a:close/>
                  <a:moveTo>
                    <a:pt x="926" y="883"/>
                  </a:moveTo>
                  <a:lnTo>
                    <a:pt x="926" y="883"/>
                  </a:lnTo>
                  <a:cubicBezTo>
                    <a:pt x="772" y="728"/>
                    <a:pt x="772" y="485"/>
                    <a:pt x="926" y="353"/>
                  </a:cubicBezTo>
                  <a:cubicBezTo>
                    <a:pt x="1059" y="199"/>
                    <a:pt x="1302" y="199"/>
                    <a:pt x="1456" y="353"/>
                  </a:cubicBezTo>
                  <a:cubicBezTo>
                    <a:pt x="1610" y="485"/>
                    <a:pt x="1610" y="728"/>
                    <a:pt x="1456" y="883"/>
                  </a:cubicBezTo>
                  <a:cubicBezTo>
                    <a:pt x="1302" y="1037"/>
                    <a:pt x="1059" y="1037"/>
                    <a:pt x="926" y="883"/>
                  </a:cubicBezTo>
                  <a:close/>
                  <a:moveTo>
                    <a:pt x="1963" y="1964"/>
                  </a:moveTo>
                  <a:lnTo>
                    <a:pt x="1963" y="1964"/>
                  </a:lnTo>
                  <a:cubicBezTo>
                    <a:pt x="2051" y="1964"/>
                    <a:pt x="2021" y="1964"/>
                    <a:pt x="2051" y="1964"/>
                  </a:cubicBezTo>
                  <a:cubicBezTo>
                    <a:pt x="2073" y="1964"/>
                    <a:pt x="2096" y="1942"/>
                    <a:pt x="2096" y="1919"/>
                  </a:cubicBezTo>
                  <a:lnTo>
                    <a:pt x="2096" y="110"/>
                  </a:lnTo>
                  <a:cubicBezTo>
                    <a:pt x="2096" y="89"/>
                    <a:pt x="2073" y="66"/>
                    <a:pt x="2051" y="66"/>
                  </a:cubicBezTo>
                  <a:lnTo>
                    <a:pt x="1963" y="66"/>
                  </a:lnTo>
                  <a:cubicBezTo>
                    <a:pt x="1941" y="66"/>
                    <a:pt x="1919" y="89"/>
                    <a:pt x="1919" y="110"/>
                  </a:cubicBezTo>
                  <a:lnTo>
                    <a:pt x="1919" y="1919"/>
                  </a:lnTo>
                  <a:cubicBezTo>
                    <a:pt x="1919" y="1942"/>
                    <a:pt x="1941" y="1964"/>
                    <a:pt x="1963" y="1964"/>
                  </a:cubicBezTo>
                  <a:close/>
                  <a:moveTo>
                    <a:pt x="2162" y="2096"/>
                  </a:moveTo>
                  <a:lnTo>
                    <a:pt x="2162" y="2096"/>
                  </a:lnTo>
                  <a:lnTo>
                    <a:pt x="43" y="2096"/>
                  </a:lnTo>
                  <a:cubicBezTo>
                    <a:pt x="22" y="2096"/>
                    <a:pt x="0" y="2118"/>
                    <a:pt x="0" y="2140"/>
                  </a:cubicBezTo>
                  <a:lnTo>
                    <a:pt x="0" y="2250"/>
                  </a:lnTo>
                  <a:cubicBezTo>
                    <a:pt x="0" y="2272"/>
                    <a:pt x="22" y="2295"/>
                    <a:pt x="43" y="2295"/>
                  </a:cubicBezTo>
                  <a:lnTo>
                    <a:pt x="2162" y="2295"/>
                  </a:lnTo>
                  <a:cubicBezTo>
                    <a:pt x="2184" y="2295"/>
                    <a:pt x="2206" y="2272"/>
                    <a:pt x="2206" y="2250"/>
                  </a:cubicBezTo>
                  <a:lnTo>
                    <a:pt x="2206" y="2140"/>
                  </a:lnTo>
                  <a:cubicBezTo>
                    <a:pt x="2206" y="2118"/>
                    <a:pt x="2184" y="2096"/>
                    <a:pt x="2162" y="2096"/>
                  </a:cubicBezTo>
                  <a:close/>
                  <a:moveTo>
                    <a:pt x="88" y="1809"/>
                  </a:moveTo>
                  <a:lnTo>
                    <a:pt x="88" y="1809"/>
                  </a:lnTo>
                  <a:lnTo>
                    <a:pt x="88" y="1919"/>
                  </a:lnTo>
                  <a:cubicBezTo>
                    <a:pt x="88" y="1942"/>
                    <a:pt x="110" y="1964"/>
                    <a:pt x="132" y="1964"/>
                  </a:cubicBezTo>
                  <a:lnTo>
                    <a:pt x="220" y="1964"/>
                  </a:lnTo>
                  <a:cubicBezTo>
                    <a:pt x="243" y="1964"/>
                    <a:pt x="264" y="1942"/>
                    <a:pt x="264" y="1919"/>
                  </a:cubicBezTo>
                  <a:lnTo>
                    <a:pt x="264" y="1854"/>
                  </a:lnTo>
                  <a:lnTo>
                    <a:pt x="264" y="1831"/>
                  </a:lnTo>
                  <a:cubicBezTo>
                    <a:pt x="243" y="1831"/>
                    <a:pt x="154" y="1809"/>
                    <a:pt x="110" y="1787"/>
                  </a:cubicBezTo>
                  <a:cubicBezTo>
                    <a:pt x="88" y="1787"/>
                    <a:pt x="88" y="1787"/>
                    <a:pt x="88" y="1809"/>
                  </a:cubicBezTo>
                  <a:close/>
                  <a:moveTo>
                    <a:pt x="551" y="1699"/>
                  </a:moveTo>
                  <a:lnTo>
                    <a:pt x="551" y="1699"/>
                  </a:lnTo>
                  <a:cubicBezTo>
                    <a:pt x="551" y="1919"/>
                    <a:pt x="551" y="1845"/>
                    <a:pt x="551" y="1919"/>
                  </a:cubicBezTo>
                  <a:cubicBezTo>
                    <a:pt x="551" y="1942"/>
                    <a:pt x="573" y="1964"/>
                    <a:pt x="596" y="1964"/>
                  </a:cubicBezTo>
                  <a:lnTo>
                    <a:pt x="684" y="1964"/>
                  </a:lnTo>
                  <a:cubicBezTo>
                    <a:pt x="706" y="1964"/>
                    <a:pt x="728" y="1942"/>
                    <a:pt x="728" y="1919"/>
                  </a:cubicBezTo>
                  <a:lnTo>
                    <a:pt x="728" y="1501"/>
                  </a:lnTo>
                  <a:lnTo>
                    <a:pt x="706" y="1501"/>
                  </a:lnTo>
                  <a:lnTo>
                    <a:pt x="551" y="1677"/>
                  </a:lnTo>
                  <a:lnTo>
                    <a:pt x="551" y="1699"/>
                  </a:lnTo>
                  <a:close/>
                  <a:moveTo>
                    <a:pt x="1456" y="1236"/>
                  </a:moveTo>
                  <a:lnTo>
                    <a:pt x="1456" y="1236"/>
                  </a:lnTo>
                  <a:lnTo>
                    <a:pt x="1456" y="1919"/>
                  </a:lnTo>
                  <a:cubicBezTo>
                    <a:pt x="1456" y="1942"/>
                    <a:pt x="1478" y="1964"/>
                    <a:pt x="1500" y="1964"/>
                  </a:cubicBezTo>
                  <a:lnTo>
                    <a:pt x="1588" y="1964"/>
                  </a:lnTo>
                  <a:cubicBezTo>
                    <a:pt x="1632" y="1964"/>
                    <a:pt x="1655" y="1942"/>
                    <a:pt x="1655" y="1919"/>
                  </a:cubicBezTo>
                  <a:lnTo>
                    <a:pt x="1655" y="1125"/>
                  </a:lnTo>
                  <a:lnTo>
                    <a:pt x="1632" y="1125"/>
                  </a:lnTo>
                  <a:cubicBezTo>
                    <a:pt x="1588" y="1169"/>
                    <a:pt x="1522" y="1213"/>
                    <a:pt x="1456" y="1236"/>
                  </a:cubicBezTo>
                  <a:close/>
                  <a:moveTo>
                    <a:pt x="992" y="1280"/>
                  </a:moveTo>
                  <a:lnTo>
                    <a:pt x="992" y="1280"/>
                  </a:lnTo>
                  <a:lnTo>
                    <a:pt x="992" y="1919"/>
                  </a:lnTo>
                  <a:cubicBezTo>
                    <a:pt x="992" y="1942"/>
                    <a:pt x="1014" y="1964"/>
                    <a:pt x="1059" y="1964"/>
                  </a:cubicBezTo>
                  <a:cubicBezTo>
                    <a:pt x="1147" y="1964"/>
                    <a:pt x="1117" y="1964"/>
                    <a:pt x="1147" y="1964"/>
                  </a:cubicBezTo>
                  <a:cubicBezTo>
                    <a:pt x="1169" y="1964"/>
                    <a:pt x="1191" y="1942"/>
                    <a:pt x="1191" y="1919"/>
                  </a:cubicBezTo>
                  <a:lnTo>
                    <a:pt x="1191" y="1302"/>
                  </a:lnTo>
                  <a:lnTo>
                    <a:pt x="1169" y="1302"/>
                  </a:lnTo>
                  <a:cubicBezTo>
                    <a:pt x="1147" y="1280"/>
                    <a:pt x="1081" y="1280"/>
                    <a:pt x="1014" y="1280"/>
                  </a:cubicBezTo>
                  <a:lnTo>
                    <a:pt x="992" y="1280"/>
                  </a:lnTo>
                  <a:close/>
                </a:path>
              </a:pathLst>
            </a:custGeom>
            <a:solidFill>
              <a:srgbClr val="8A002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52197" y="2769047"/>
              <a:ext cx="2626668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b="1" dirty="0">
                  <a:solidFill>
                    <a:srgbClr val="8A0021"/>
                  </a:solidFill>
                  <a:latin typeface="Helvetica" panose="020B0604020202020204" pitchFamily="34" charset="0"/>
                  <a:ea typeface="Graphik Semibold" charset="0"/>
                  <a:cs typeface="Helvetica" panose="020B0604020202020204" pitchFamily="34" charset="0"/>
                </a:rPr>
                <a:t>IDENTIFY </a:t>
              </a:r>
              <a:endParaRPr lang="en-US" b="1" dirty="0" smtClean="0">
                <a:solidFill>
                  <a:srgbClr val="8A0021"/>
                </a:solidFill>
                <a:latin typeface="Helvetica" panose="020B0604020202020204" pitchFamily="34" charset="0"/>
                <a:ea typeface="Graphik Semibold" charset="0"/>
                <a:cs typeface="Helvetica" panose="020B0604020202020204" pitchFamily="34" charset="0"/>
              </a:endParaRPr>
            </a:p>
            <a:p>
              <a:pPr algn="ctr"/>
              <a:r>
                <a:rPr lang="en-US" dirty="0" smtClean="0">
                  <a:solidFill>
                    <a:prstClr val="black"/>
                  </a:solidFill>
                  <a:latin typeface="Helvetica" panose="020B0604020202020204" pitchFamily="34" charset="0"/>
                  <a:ea typeface="Graphik Light" charset="0"/>
                  <a:cs typeface="Helvetica" panose="020B0604020202020204" pitchFamily="34" charset="0"/>
                </a:rPr>
                <a:t>promising </a:t>
              </a:r>
              <a:r>
                <a:rPr lang="en-US" dirty="0">
                  <a:solidFill>
                    <a:prstClr val="black"/>
                  </a:solidFill>
                  <a:latin typeface="Helvetica" panose="020B0604020202020204" pitchFamily="34" charset="0"/>
                  <a:ea typeface="Graphik Light" charset="0"/>
                  <a:cs typeface="Helvetica" panose="020B0604020202020204" pitchFamily="34" charset="0"/>
                </a:rPr>
                <a:t>solutions to urban challenges</a:t>
              </a:r>
              <a:endParaRPr lang="en-US" b="1" dirty="0">
                <a:solidFill>
                  <a:srgbClr val="8A0021"/>
                </a:solidFill>
                <a:latin typeface="Helvetica" panose="020B0604020202020204" pitchFamily="34" charset="0"/>
                <a:ea typeface="Graphik Semibold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3258666" y="1749351"/>
            <a:ext cx="2626668" cy="2527699"/>
            <a:chOff x="3258666" y="1574415"/>
            <a:chExt cx="2626668" cy="2274928"/>
          </a:xfrm>
        </p:grpSpPr>
        <p:sp>
          <p:nvSpPr>
            <p:cNvPr id="17" name="Freeform 13"/>
            <p:cNvSpPr>
              <a:spLocks noChangeArrowheads="1"/>
            </p:cNvSpPr>
            <p:nvPr/>
          </p:nvSpPr>
          <p:spPr bwMode="auto">
            <a:xfrm>
              <a:off x="4174497" y="1574415"/>
              <a:ext cx="795008" cy="1065116"/>
            </a:xfrm>
            <a:custGeom>
              <a:avLst/>
              <a:gdLst>
                <a:gd name="T0" fmla="*/ 397 w 1832"/>
                <a:gd name="T1" fmla="*/ 904 h 2450"/>
                <a:gd name="T2" fmla="*/ 485 w 1832"/>
                <a:gd name="T3" fmla="*/ 1125 h 2450"/>
                <a:gd name="T4" fmla="*/ 705 w 1832"/>
                <a:gd name="T5" fmla="*/ 816 h 2450"/>
                <a:gd name="T6" fmla="*/ 485 w 1832"/>
                <a:gd name="T7" fmla="*/ 1478 h 2450"/>
                <a:gd name="T8" fmla="*/ 332 w 1832"/>
                <a:gd name="T9" fmla="*/ 1456 h 2450"/>
                <a:gd name="T10" fmla="*/ 772 w 1832"/>
                <a:gd name="T11" fmla="*/ 1367 h 2450"/>
                <a:gd name="T12" fmla="*/ 485 w 1832"/>
                <a:gd name="T13" fmla="*/ 1478 h 2450"/>
                <a:gd name="T14" fmla="*/ 397 w 1832"/>
                <a:gd name="T15" fmla="*/ 1875 h 2450"/>
                <a:gd name="T16" fmla="*/ 485 w 1832"/>
                <a:gd name="T17" fmla="*/ 2096 h 2450"/>
                <a:gd name="T18" fmla="*/ 705 w 1832"/>
                <a:gd name="T19" fmla="*/ 1787 h 2450"/>
                <a:gd name="T20" fmla="*/ 1698 w 1832"/>
                <a:gd name="T21" fmla="*/ 331 h 2450"/>
                <a:gd name="T22" fmla="*/ 1412 w 1832"/>
                <a:gd name="T23" fmla="*/ 331 h 2450"/>
                <a:gd name="T24" fmla="*/ 1367 w 1832"/>
                <a:gd name="T25" fmla="*/ 220 h 2450"/>
                <a:gd name="T26" fmla="*/ 926 w 1832"/>
                <a:gd name="T27" fmla="*/ 0 h 2450"/>
                <a:gd name="T28" fmla="*/ 464 w 1832"/>
                <a:gd name="T29" fmla="*/ 220 h 2450"/>
                <a:gd name="T30" fmla="*/ 420 w 1832"/>
                <a:gd name="T31" fmla="*/ 331 h 2450"/>
                <a:gd name="T32" fmla="*/ 0 w 1832"/>
                <a:gd name="T33" fmla="*/ 463 h 2450"/>
                <a:gd name="T34" fmla="*/ 132 w 1832"/>
                <a:gd name="T35" fmla="*/ 2449 h 2450"/>
                <a:gd name="T36" fmla="*/ 1831 w 1832"/>
                <a:gd name="T37" fmla="*/ 2316 h 2450"/>
                <a:gd name="T38" fmla="*/ 1698 w 1832"/>
                <a:gd name="T39" fmla="*/ 331 h 2450"/>
                <a:gd name="T40" fmla="*/ 926 w 1832"/>
                <a:gd name="T41" fmla="*/ 110 h 2450"/>
                <a:gd name="T42" fmla="*/ 926 w 1832"/>
                <a:gd name="T43" fmla="*/ 419 h 2450"/>
                <a:gd name="T44" fmla="*/ 926 w 1832"/>
                <a:gd name="T45" fmla="*/ 110 h 2450"/>
                <a:gd name="T46" fmla="*/ 420 w 1832"/>
                <a:gd name="T47" fmla="*/ 485 h 2450"/>
                <a:gd name="T48" fmla="*/ 464 w 1832"/>
                <a:gd name="T49" fmla="*/ 639 h 2450"/>
                <a:gd name="T50" fmla="*/ 1412 w 1832"/>
                <a:gd name="T51" fmla="*/ 573 h 2450"/>
                <a:gd name="T52" fmla="*/ 1588 w 1832"/>
                <a:gd name="T53" fmla="*/ 485 h 2450"/>
                <a:gd name="T54" fmla="*/ 1654 w 1832"/>
                <a:gd name="T55" fmla="*/ 2228 h 2450"/>
                <a:gd name="T56" fmla="*/ 243 w 1832"/>
                <a:gd name="T57" fmla="*/ 2294 h 2450"/>
                <a:gd name="T58" fmla="*/ 177 w 1832"/>
                <a:gd name="T59" fmla="*/ 551 h 2450"/>
                <a:gd name="T60" fmla="*/ 420 w 1832"/>
                <a:gd name="T61" fmla="*/ 485 h 2450"/>
                <a:gd name="T62" fmla="*/ 926 w 1832"/>
                <a:gd name="T63" fmla="*/ 992 h 2450"/>
                <a:gd name="T64" fmla="*/ 1500 w 1832"/>
                <a:gd name="T65" fmla="*/ 882 h 2450"/>
                <a:gd name="T66" fmla="*/ 1500 w 1832"/>
                <a:gd name="T67" fmla="*/ 1478 h 2450"/>
                <a:gd name="T68" fmla="*/ 926 w 1832"/>
                <a:gd name="T69" fmla="*/ 1367 h 2450"/>
                <a:gd name="T70" fmla="*/ 1500 w 1832"/>
                <a:gd name="T71" fmla="*/ 1478 h 2450"/>
                <a:gd name="T72" fmla="*/ 926 w 1832"/>
                <a:gd name="T73" fmla="*/ 1963 h 2450"/>
                <a:gd name="T74" fmla="*/ 1500 w 1832"/>
                <a:gd name="T75" fmla="*/ 1853 h 2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32" h="2450">
                  <a:moveTo>
                    <a:pt x="485" y="1014"/>
                  </a:moveTo>
                  <a:lnTo>
                    <a:pt x="397" y="904"/>
                  </a:lnTo>
                  <a:lnTo>
                    <a:pt x="332" y="970"/>
                  </a:lnTo>
                  <a:lnTo>
                    <a:pt x="485" y="1125"/>
                  </a:lnTo>
                  <a:lnTo>
                    <a:pt x="772" y="882"/>
                  </a:lnTo>
                  <a:lnTo>
                    <a:pt x="705" y="816"/>
                  </a:lnTo>
                  <a:lnTo>
                    <a:pt x="485" y="1014"/>
                  </a:lnTo>
                  <a:close/>
                  <a:moveTo>
                    <a:pt x="485" y="1478"/>
                  </a:moveTo>
                  <a:lnTo>
                    <a:pt x="397" y="1390"/>
                  </a:lnTo>
                  <a:lnTo>
                    <a:pt x="332" y="1456"/>
                  </a:lnTo>
                  <a:lnTo>
                    <a:pt x="485" y="1610"/>
                  </a:lnTo>
                  <a:lnTo>
                    <a:pt x="772" y="1367"/>
                  </a:lnTo>
                  <a:lnTo>
                    <a:pt x="705" y="1302"/>
                  </a:lnTo>
                  <a:lnTo>
                    <a:pt x="485" y="1478"/>
                  </a:lnTo>
                  <a:close/>
                  <a:moveTo>
                    <a:pt x="485" y="1963"/>
                  </a:moveTo>
                  <a:lnTo>
                    <a:pt x="397" y="1875"/>
                  </a:lnTo>
                  <a:lnTo>
                    <a:pt x="332" y="1941"/>
                  </a:lnTo>
                  <a:lnTo>
                    <a:pt x="485" y="2096"/>
                  </a:lnTo>
                  <a:lnTo>
                    <a:pt x="772" y="1853"/>
                  </a:lnTo>
                  <a:lnTo>
                    <a:pt x="705" y="1787"/>
                  </a:lnTo>
                  <a:lnTo>
                    <a:pt x="485" y="1963"/>
                  </a:lnTo>
                  <a:close/>
                  <a:moveTo>
                    <a:pt x="1698" y="331"/>
                  </a:moveTo>
                  <a:lnTo>
                    <a:pt x="1698" y="331"/>
                  </a:lnTo>
                  <a:lnTo>
                    <a:pt x="1412" y="331"/>
                  </a:lnTo>
                  <a:lnTo>
                    <a:pt x="1412" y="264"/>
                  </a:lnTo>
                  <a:cubicBezTo>
                    <a:pt x="1412" y="243"/>
                    <a:pt x="1390" y="220"/>
                    <a:pt x="1367" y="220"/>
                  </a:cubicBezTo>
                  <a:lnTo>
                    <a:pt x="1169" y="220"/>
                  </a:lnTo>
                  <a:cubicBezTo>
                    <a:pt x="1147" y="66"/>
                    <a:pt x="1014" y="0"/>
                    <a:pt x="926" y="0"/>
                  </a:cubicBezTo>
                  <a:cubicBezTo>
                    <a:pt x="816" y="0"/>
                    <a:pt x="684" y="66"/>
                    <a:pt x="661" y="220"/>
                  </a:cubicBezTo>
                  <a:lnTo>
                    <a:pt x="464" y="220"/>
                  </a:lnTo>
                  <a:cubicBezTo>
                    <a:pt x="442" y="220"/>
                    <a:pt x="420" y="243"/>
                    <a:pt x="420" y="264"/>
                  </a:cubicBezTo>
                  <a:lnTo>
                    <a:pt x="420" y="331"/>
                  </a:lnTo>
                  <a:lnTo>
                    <a:pt x="132" y="331"/>
                  </a:lnTo>
                  <a:cubicBezTo>
                    <a:pt x="67" y="331"/>
                    <a:pt x="0" y="396"/>
                    <a:pt x="0" y="463"/>
                  </a:cubicBezTo>
                  <a:lnTo>
                    <a:pt x="0" y="2316"/>
                  </a:lnTo>
                  <a:cubicBezTo>
                    <a:pt x="0" y="2383"/>
                    <a:pt x="67" y="2449"/>
                    <a:pt x="132" y="2449"/>
                  </a:cubicBezTo>
                  <a:lnTo>
                    <a:pt x="1698" y="2449"/>
                  </a:lnTo>
                  <a:cubicBezTo>
                    <a:pt x="1765" y="2449"/>
                    <a:pt x="1831" y="2383"/>
                    <a:pt x="1831" y="2316"/>
                  </a:cubicBezTo>
                  <a:lnTo>
                    <a:pt x="1831" y="463"/>
                  </a:lnTo>
                  <a:cubicBezTo>
                    <a:pt x="1831" y="396"/>
                    <a:pt x="1765" y="331"/>
                    <a:pt x="1698" y="331"/>
                  </a:cubicBezTo>
                  <a:close/>
                  <a:moveTo>
                    <a:pt x="926" y="110"/>
                  </a:moveTo>
                  <a:lnTo>
                    <a:pt x="926" y="110"/>
                  </a:lnTo>
                  <a:cubicBezTo>
                    <a:pt x="992" y="110"/>
                    <a:pt x="1058" y="176"/>
                    <a:pt x="1058" y="264"/>
                  </a:cubicBezTo>
                  <a:cubicBezTo>
                    <a:pt x="1058" y="353"/>
                    <a:pt x="992" y="419"/>
                    <a:pt x="926" y="419"/>
                  </a:cubicBezTo>
                  <a:cubicBezTo>
                    <a:pt x="837" y="419"/>
                    <a:pt x="772" y="353"/>
                    <a:pt x="772" y="264"/>
                  </a:cubicBezTo>
                  <a:cubicBezTo>
                    <a:pt x="772" y="176"/>
                    <a:pt x="837" y="110"/>
                    <a:pt x="926" y="110"/>
                  </a:cubicBezTo>
                  <a:close/>
                  <a:moveTo>
                    <a:pt x="420" y="485"/>
                  </a:moveTo>
                  <a:lnTo>
                    <a:pt x="420" y="485"/>
                  </a:lnTo>
                  <a:cubicBezTo>
                    <a:pt x="420" y="573"/>
                    <a:pt x="420" y="543"/>
                    <a:pt x="420" y="573"/>
                  </a:cubicBezTo>
                  <a:cubicBezTo>
                    <a:pt x="420" y="617"/>
                    <a:pt x="442" y="639"/>
                    <a:pt x="464" y="639"/>
                  </a:cubicBezTo>
                  <a:lnTo>
                    <a:pt x="1367" y="639"/>
                  </a:lnTo>
                  <a:cubicBezTo>
                    <a:pt x="1390" y="639"/>
                    <a:pt x="1412" y="617"/>
                    <a:pt x="1412" y="573"/>
                  </a:cubicBezTo>
                  <a:cubicBezTo>
                    <a:pt x="1412" y="485"/>
                    <a:pt x="1412" y="514"/>
                    <a:pt x="1412" y="485"/>
                  </a:cubicBezTo>
                  <a:lnTo>
                    <a:pt x="1588" y="485"/>
                  </a:lnTo>
                  <a:cubicBezTo>
                    <a:pt x="1632" y="485"/>
                    <a:pt x="1654" y="529"/>
                    <a:pt x="1654" y="551"/>
                  </a:cubicBezTo>
                  <a:lnTo>
                    <a:pt x="1654" y="2228"/>
                  </a:lnTo>
                  <a:cubicBezTo>
                    <a:pt x="1654" y="2272"/>
                    <a:pt x="1632" y="2294"/>
                    <a:pt x="1588" y="2294"/>
                  </a:cubicBezTo>
                  <a:lnTo>
                    <a:pt x="243" y="2294"/>
                  </a:lnTo>
                  <a:cubicBezTo>
                    <a:pt x="199" y="2294"/>
                    <a:pt x="177" y="2272"/>
                    <a:pt x="177" y="2228"/>
                  </a:cubicBezTo>
                  <a:lnTo>
                    <a:pt x="177" y="551"/>
                  </a:lnTo>
                  <a:cubicBezTo>
                    <a:pt x="177" y="529"/>
                    <a:pt x="199" y="485"/>
                    <a:pt x="243" y="485"/>
                  </a:cubicBezTo>
                  <a:lnTo>
                    <a:pt x="420" y="485"/>
                  </a:lnTo>
                  <a:close/>
                  <a:moveTo>
                    <a:pt x="1500" y="992"/>
                  </a:moveTo>
                  <a:lnTo>
                    <a:pt x="926" y="992"/>
                  </a:lnTo>
                  <a:lnTo>
                    <a:pt x="926" y="882"/>
                  </a:lnTo>
                  <a:lnTo>
                    <a:pt x="1500" y="882"/>
                  </a:lnTo>
                  <a:lnTo>
                    <a:pt x="1500" y="992"/>
                  </a:lnTo>
                  <a:close/>
                  <a:moveTo>
                    <a:pt x="1500" y="1478"/>
                  </a:moveTo>
                  <a:lnTo>
                    <a:pt x="926" y="1478"/>
                  </a:lnTo>
                  <a:lnTo>
                    <a:pt x="926" y="1367"/>
                  </a:lnTo>
                  <a:lnTo>
                    <a:pt x="1500" y="1367"/>
                  </a:lnTo>
                  <a:lnTo>
                    <a:pt x="1500" y="1478"/>
                  </a:lnTo>
                  <a:close/>
                  <a:moveTo>
                    <a:pt x="1500" y="1963"/>
                  </a:moveTo>
                  <a:lnTo>
                    <a:pt x="926" y="1963"/>
                  </a:lnTo>
                  <a:lnTo>
                    <a:pt x="926" y="1853"/>
                  </a:lnTo>
                  <a:lnTo>
                    <a:pt x="1500" y="1853"/>
                  </a:lnTo>
                  <a:lnTo>
                    <a:pt x="1500" y="1963"/>
                  </a:lnTo>
                  <a:close/>
                </a:path>
              </a:pathLst>
            </a:custGeom>
            <a:solidFill>
              <a:srgbClr val="8A002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3258666" y="2769047"/>
              <a:ext cx="2626668" cy="10802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b="1" dirty="0" smtClean="0">
                  <a:solidFill>
                    <a:srgbClr val="8A0021"/>
                  </a:solidFill>
                  <a:latin typeface="Helvetica" panose="020B0604020202020204" pitchFamily="34" charset="0"/>
                  <a:ea typeface="Graphik Semibold" charset="0"/>
                  <a:cs typeface="Helvetica" panose="020B0604020202020204" pitchFamily="34" charset="0"/>
                </a:rPr>
                <a:t>TEST</a:t>
              </a:r>
            </a:p>
            <a:p>
              <a:pPr algn="ctr"/>
              <a:r>
                <a:rPr lang="en-US" dirty="0">
                  <a:solidFill>
                    <a:prstClr val="black"/>
                  </a:solidFill>
                  <a:latin typeface="Helvetica" panose="020B0604020202020204" pitchFamily="34" charset="0"/>
                  <a:ea typeface="Graphik Light" charset="0"/>
                  <a:cs typeface="Helvetica" panose="020B0604020202020204" pitchFamily="34" charset="0"/>
                </a:rPr>
                <a:t>the most promising urban policies and programs</a:t>
              </a:r>
              <a:endParaRPr lang="en-US" b="1" dirty="0">
                <a:solidFill>
                  <a:srgbClr val="8A0021"/>
                </a:solidFill>
                <a:latin typeface="Helvetica" panose="020B0604020202020204" pitchFamily="34" charset="0"/>
                <a:ea typeface="Graphik Semibold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6111634" y="1859259"/>
            <a:ext cx="2626668" cy="2417849"/>
            <a:chOff x="6111634" y="1673279"/>
            <a:chExt cx="2626668" cy="2176064"/>
          </a:xfrm>
        </p:grpSpPr>
        <p:sp>
          <p:nvSpPr>
            <p:cNvPr id="19" name="Freeform 17"/>
            <p:cNvSpPr>
              <a:spLocks noChangeArrowheads="1"/>
            </p:cNvSpPr>
            <p:nvPr/>
          </p:nvSpPr>
          <p:spPr bwMode="auto">
            <a:xfrm>
              <a:off x="6991274" y="1673279"/>
              <a:ext cx="867388" cy="867388"/>
            </a:xfrm>
            <a:custGeom>
              <a:avLst/>
              <a:gdLst>
                <a:gd name="T0" fmla="*/ 0 w 2163"/>
                <a:gd name="T1" fmla="*/ 0 h 2164"/>
                <a:gd name="T2" fmla="*/ 0 w 2163"/>
                <a:gd name="T3" fmla="*/ 1081 h 2164"/>
                <a:gd name="T4" fmla="*/ 221 w 2163"/>
                <a:gd name="T5" fmla="*/ 1081 h 2164"/>
                <a:gd name="T6" fmla="*/ 221 w 2163"/>
                <a:gd name="T7" fmla="*/ 221 h 2164"/>
                <a:gd name="T8" fmla="*/ 1942 w 2163"/>
                <a:gd name="T9" fmla="*/ 221 h 2164"/>
                <a:gd name="T10" fmla="*/ 1942 w 2163"/>
                <a:gd name="T11" fmla="*/ 1942 h 2164"/>
                <a:gd name="T12" fmla="*/ 1081 w 2163"/>
                <a:gd name="T13" fmla="*/ 1942 h 2164"/>
                <a:gd name="T14" fmla="*/ 1081 w 2163"/>
                <a:gd name="T15" fmla="*/ 2163 h 2164"/>
                <a:gd name="T16" fmla="*/ 2162 w 2163"/>
                <a:gd name="T17" fmla="*/ 2163 h 2164"/>
                <a:gd name="T18" fmla="*/ 2162 w 2163"/>
                <a:gd name="T19" fmla="*/ 0 h 2164"/>
                <a:gd name="T20" fmla="*/ 0 w 2163"/>
                <a:gd name="T21" fmla="*/ 0 h 2164"/>
                <a:gd name="T22" fmla="*/ 1721 w 2163"/>
                <a:gd name="T23" fmla="*/ 971 h 2164"/>
                <a:gd name="T24" fmla="*/ 1721 w 2163"/>
                <a:gd name="T25" fmla="*/ 442 h 2164"/>
                <a:gd name="T26" fmla="*/ 1191 w 2163"/>
                <a:gd name="T27" fmla="*/ 442 h 2164"/>
                <a:gd name="T28" fmla="*/ 1390 w 2163"/>
                <a:gd name="T29" fmla="*/ 618 h 2164"/>
                <a:gd name="T30" fmla="*/ 905 w 2163"/>
                <a:gd name="T31" fmla="*/ 1104 h 2164"/>
                <a:gd name="T32" fmla="*/ 1059 w 2163"/>
                <a:gd name="T33" fmla="*/ 1258 h 2164"/>
                <a:gd name="T34" fmla="*/ 1523 w 2163"/>
                <a:gd name="T35" fmla="*/ 773 h 2164"/>
                <a:gd name="T36" fmla="*/ 1721 w 2163"/>
                <a:gd name="T37" fmla="*/ 971 h 2164"/>
                <a:gd name="T38" fmla="*/ 0 w 2163"/>
                <a:gd name="T39" fmla="*/ 1302 h 2164"/>
                <a:gd name="T40" fmla="*/ 861 w 2163"/>
                <a:gd name="T41" fmla="*/ 1302 h 2164"/>
                <a:gd name="T42" fmla="*/ 861 w 2163"/>
                <a:gd name="T43" fmla="*/ 2163 h 2164"/>
                <a:gd name="T44" fmla="*/ 0 w 2163"/>
                <a:gd name="T45" fmla="*/ 2163 h 2164"/>
                <a:gd name="T46" fmla="*/ 0 w 2163"/>
                <a:gd name="T47" fmla="*/ 1302 h 2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63" h="2164">
                  <a:moveTo>
                    <a:pt x="0" y="0"/>
                  </a:moveTo>
                  <a:lnTo>
                    <a:pt x="0" y="1081"/>
                  </a:lnTo>
                  <a:lnTo>
                    <a:pt x="221" y="1081"/>
                  </a:lnTo>
                  <a:lnTo>
                    <a:pt x="221" y="221"/>
                  </a:lnTo>
                  <a:lnTo>
                    <a:pt x="1942" y="221"/>
                  </a:lnTo>
                  <a:lnTo>
                    <a:pt x="1942" y="1942"/>
                  </a:lnTo>
                  <a:lnTo>
                    <a:pt x="1081" y="1942"/>
                  </a:lnTo>
                  <a:lnTo>
                    <a:pt x="1081" y="2163"/>
                  </a:lnTo>
                  <a:lnTo>
                    <a:pt x="2162" y="2163"/>
                  </a:lnTo>
                  <a:lnTo>
                    <a:pt x="2162" y="0"/>
                  </a:lnTo>
                  <a:lnTo>
                    <a:pt x="0" y="0"/>
                  </a:lnTo>
                  <a:close/>
                  <a:moveTo>
                    <a:pt x="1721" y="971"/>
                  </a:moveTo>
                  <a:lnTo>
                    <a:pt x="1721" y="442"/>
                  </a:lnTo>
                  <a:lnTo>
                    <a:pt x="1191" y="442"/>
                  </a:lnTo>
                  <a:lnTo>
                    <a:pt x="1390" y="618"/>
                  </a:lnTo>
                  <a:lnTo>
                    <a:pt x="905" y="1104"/>
                  </a:lnTo>
                  <a:lnTo>
                    <a:pt x="1059" y="1258"/>
                  </a:lnTo>
                  <a:lnTo>
                    <a:pt x="1523" y="773"/>
                  </a:lnTo>
                  <a:lnTo>
                    <a:pt x="1721" y="971"/>
                  </a:lnTo>
                  <a:close/>
                  <a:moveTo>
                    <a:pt x="0" y="1302"/>
                  </a:moveTo>
                  <a:lnTo>
                    <a:pt x="861" y="1302"/>
                  </a:lnTo>
                  <a:lnTo>
                    <a:pt x="861" y="2163"/>
                  </a:lnTo>
                  <a:lnTo>
                    <a:pt x="0" y="2163"/>
                  </a:lnTo>
                  <a:lnTo>
                    <a:pt x="0" y="1302"/>
                  </a:lnTo>
                  <a:close/>
                </a:path>
              </a:pathLst>
            </a:custGeom>
            <a:solidFill>
              <a:srgbClr val="8A002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111634" y="2769047"/>
              <a:ext cx="2626668" cy="10802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b="1" dirty="0" smtClean="0">
                  <a:solidFill>
                    <a:srgbClr val="8A0021"/>
                  </a:solidFill>
                  <a:latin typeface="Helvetica" panose="020B0604020202020204" pitchFamily="34" charset="0"/>
                  <a:ea typeface="Graphik Semibold" charset="0"/>
                  <a:cs typeface="Helvetica" panose="020B0604020202020204" pitchFamily="34" charset="0"/>
                </a:rPr>
                <a:t>SCALE UP</a:t>
              </a:r>
            </a:p>
            <a:p>
              <a:pPr algn="ctr"/>
              <a:r>
                <a:rPr lang="en-US" dirty="0">
                  <a:solidFill>
                    <a:prstClr val="black"/>
                  </a:solidFill>
                  <a:latin typeface="Helvetica" panose="020B0604020202020204" pitchFamily="34" charset="0"/>
                  <a:ea typeface="Graphik Light" charset="0"/>
                  <a:cs typeface="Helvetica" panose="020B0604020202020204" pitchFamily="34" charset="0"/>
                </a:rPr>
                <a:t>the most effective and cost-efficient policies and programs</a:t>
              </a:r>
              <a:endParaRPr lang="en-US" b="1" dirty="0">
                <a:solidFill>
                  <a:srgbClr val="8A0021"/>
                </a:solidFill>
                <a:latin typeface="Helvetica" panose="020B0604020202020204" pitchFamily="34" charset="0"/>
                <a:ea typeface="Graphik Semibold" charset="0"/>
                <a:cs typeface="Helvetica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060901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2782700" y="955622"/>
            <a:ext cx="357860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dirty="0" smtClean="0">
                <a:solidFill>
                  <a:prstClr val="black"/>
                </a:solidFill>
                <a:latin typeface="Helvetica" panose="020B0604020202020204" pitchFamily="34" charset="0"/>
                <a:ea typeface="Graphik Light" charset="0"/>
                <a:cs typeface="Helvetica" panose="020B0604020202020204" pitchFamily="34" charset="0"/>
              </a:rPr>
              <a:t>WE WORK WITH CITIES TO:</a:t>
            </a:r>
            <a:endParaRPr lang="en-US" sz="2000" b="1" dirty="0">
              <a:solidFill>
                <a:srgbClr val="8A0021"/>
              </a:solidFill>
              <a:latin typeface="Helvetica" panose="020B0604020202020204" pitchFamily="34" charset="0"/>
              <a:ea typeface="Graphik Semibold" charset="0"/>
              <a:cs typeface="Helvetica" panose="020B0604020202020204" pitchFamily="34" charset="0"/>
            </a:endParaRPr>
          </a:p>
        </p:txBody>
      </p:sp>
      <p:sp>
        <p:nvSpPr>
          <p:cNvPr id="18" name="Freeform 15"/>
          <p:cNvSpPr>
            <a:spLocks noChangeArrowheads="1"/>
          </p:cNvSpPr>
          <p:nvPr/>
        </p:nvSpPr>
        <p:spPr bwMode="auto">
          <a:xfrm>
            <a:off x="1297148" y="1798802"/>
            <a:ext cx="936766" cy="1084567"/>
          </a:xfrm>
          <a:custGeom>
            <a:avLst/>
            <a:gdLst>
              <a:gd name="T0" fmla="*/ 1588 w 2207"/>
              <a:gd name="T1" fmla="*/ 1015 h 2296"/>
              <a:gd name="T2" fmla="*/ 816 w 2207"/>
              <a:gd name="T3" fmla="*/ 199 h 2296"/>
              <a:gd name="T4" fmla="*/ 684 w 2207"/>
              <a:gd name="T5" fmla="*/ 905 h 2296"/>
              <a:gd name="T6" fmla="*/ 132 w 2207"/>
              <a:gd name="T7" fmla="*/ 1655 h 2296"/>
              <a:gd name="T8" fmla="*/ 904 w 2207"/>
              <a:gd name="T9" fmla="*/ 1103 h 2296"/>
              <a:gd name="T10" fmla="*/ 1588 w 2207"/>
              <a:gd name="T11" fmla="*/ 1015 h 2296"/>
              <a:gd name="T12" fmla="*/ 926 w 2207"/>
              <a:gd name="T13" fmla="*/ 883 h 2296"/>
              <a:gd name="T14" fmla="*/ 1456 w 2207"/>
              <a:gd name="T15" fmla="*/ 353 h 2296"/>
              <a:gd name="T16" fmla="*/ 926 w 2207"/>
              <a:gd name="T17" fmla="*/ 883 h 2296"/>
              <a:gd name="T18" fmla="*/ 1963 w 2207"/>
              <a:gd name="T19" fmla="*/ 1964 h 2296"/>
              <a:gd name="T20" fmla="*/ 2096 w 2207"/>
              <a:gd name="T21" fmla="*/ 1919 h 2296"/>
              <a:gd name="T22" fmla="*/ 2051 w 2207"/>
              <a:gd name="T23" fmla="*/ 66 h 2296"/>
              <a:gd name="T24" fmla="*/ 1919 w 2207"/>
              <a:gd name="T25" fmla="*/ 110 h 2296"/>
              <a:gd name="T26" fmla="*/ 1963 w 2207"/>
              <a:gd name="T27" fmla="*/ 1964 h 2296"/>
              <a:gd name="T28" fmla="*/ 2162 w 2207"/>
              <a:gd name="T29" fmla="*/ 2096 h 2296"/>
              <a:gd name="T30" fmla="*/ 0 w 2207"/>
              <a:gd name="T31" fmla="*/ 2140 h 2296"/>
              <a:gd name="T32" fmla="*/ 43 w 2207"/>
              <a:gd name="T33" fmla="*/ 2295 h 2296"/>
              <a:gd name="T34" fmla="*/ 2206 w 2207"/>
              <a:gd name="T35" fmla="*/ 2250 h 2296"/>
              <a:gd name="T36" fmla="*/ 2162 w 2207"/>
              <a:gd name="T37" fmla="*/ 2096 h 2296"/>
              <a:gd name="T38" fmla="*/ 88 w 2207"/>
              <a:gd name="T39" fmla="*/ 1809 h 2296"/>
              <a:gd name="T40" fmla="*/ 132 w 2207"/>
              <a:gd name="T41" fmla="*/ 1964 h 2296"/>
              <a:gd name="T42" fmla="*/ 264 w 2207"/>
              <a:gd name="T43" fmla="*/ 1919 h 2296"/>
              <a:gd name="T44" fmla="*/ 264 w 2207"/>
              <a:gd name="T45" fmla="*/ 1831 h 2296"/>
              <a:gd name="T46" fmla="*/ 88 w 2207"/>
              <a:gd name="T47" fmla="*/ 1809 h 2296"/>
              <a:gd name="T48" fmla="*/ 551 w 2207"/>
              <a:gd name="T49" fmla="*/ 1699 h 2296"/>
              <a:gd name="T50" fmla="*/ 596 w 2207"/>
              <a:gd name="T51" fmla="*/ 1964 h 2296"/>
              <a:gd name="T52" fmla="*/ 728 w 2207"/>
              <a:gd name="T53" fmla="*/ 1919 h 2296"/>
              <a:gd name="T54" fmla="*/ 706 w 2207"/>
              <a:gd name="T55" fmla="*/ 1501 h 2296"/>
              <a:gd name="T56" fmla="*/ 551 w 2207"/>
              <a:gd name="T57" fmla="*/ 1699 h 2296"/>
              <a:gd name="T58" fmla="*/ 1456 w 2207"/>
              <a:gd name="T59" fmla="*/ 1236 h 2296"/>
              <a:gd name="T60" fmla="*/ 1500 w 2207"/>
              <a:gd name="T61" fmla="*/ 1964 h 2296"/>
              <a:gd name="T62" fmla="*/ 1655 w 2207"/>
              <a:gd name="T63" fmla="*/ 1919 h 2296"/>
              <a:gd name="T64" fmla="*/ 1632 w 2207"/>
              <a:gd name="T65" fmla="*/ 1125 h 2296"/>
              <a:gd name="T66" fmla="*/ 992 w 2207"/>
              <a:gd name="T67" fmla="*/ 1280 h 2296"/>
              <a:gd name="T68" fmla="*/ 992 w 2207"/>
              <a:gd name="T69" fmla="*/ 1919 h 2296"/>
              <a:gd name="T70" fmla="*/ 1147 w 2207"/>
              <a:gd name="T71" fmla="*/ 1964 h 2296"/>
              <a:gd name="T72" fmla="*/ 1191 w 2207"/>
              <a:gd name="T73" fmla="*/ 1302 h 2296"/>
              <a:gd name="T74" fmla="*/ 1014 w 2207"/>
              <a:gd name="T75" fmla="*/ 1280 h 2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207" h="2296">
                <a:moveTo>
                  <a:pt x="1588" y="1015"/>
                </a:moveTo>
                <a:lnTo>
                  <a:pt x="1588" y="1015"/>
                </a:lnTo>
                <a:cubicBezTo>
                  <a:pt x="1809" y="795"/>
                  <a:pt x="1787" y="419"/>
                  <a:pt x="1566" y="221"/>
                </a:cubicBezTo>
                <a:cubicBezTo>
                  <a:pt x="1367" y="0"/>
                  <a:pt x="1037" y="0"/>
                  <a:pt x="816" y="199"/>
                </a:cubicBezTo>
                <a:cubicBezTo>
                  <a:pt x="617" y="375"/>
                  <a:pt x="573" y="662"/>
                  <a:pt x="684" y="883"/>
                </a:cubicBezTo>
                <a:cubicBezTo>
                  <a:pt x="706" y="883"/>
                  <a:pt x="706" y="883"/>
                  <a:pt x="684" y="905"/>
                </a:cubicBezTo>
                <a:lnTo>
                  <a:pt x="154" y="1390"/>
                </a:lnTo>
                <a:cubicBezTo>
                  <a:pt x="66" y="1456"/>
                  <a:pt x="66" y="1589"/>
                  <a:pt x="132" y="1655"/>
                </a:cubicBezTo>
                <a:cubicBezTo>
                  <a:pt x="198" y="1743"/>
                  <a:pt x="331" y="1743"/>
                  <a:pt x="396" y="1655"/>
                </a:cubicBezTo>
                <a:lnTo>
                  <a:pt x="904" y="1103"/>
                </a:lnTo>
                <a:lnTo>
                  <a:pt x="926" y="1103"/>
                </a:lnTo>
                <a:cubicBezTo>
                  <a:pt x="1125" y="1213"/>
                  <a:pt x="1412" y="1191"/>
                  <a:pt x="1588" y="1015"/>
                </a:cubicBezTo>
                <a:close/>
                <a:moveTo>
                  <a:pt x="926" y="883"/>
                </a:moveTo>
                <a:lnTo>
                  <a:pt x="926" y="883"/>
                </a:lnTo>
                <a:cubicBezTo>
                  <a:pt x="772" y="728"/>
                  <a:pt x="772" y="485"/>
                  <a:pt x="926" y="353"/>
                </a:cubicBezTo>
                <a:cubicBezTo>
                  <a:pt x="1059" y="199"/>
                  <a:pt x="1302" y="199"/>
                  <a:pt x="1456" y="353"/>
                </a:cubicBezTo>
                <a:cubicBezTo>
                  <a:pt x="1610" y="485"/>
                  <a:pt x="1610" y="728"/>
                  <a:pt x="1456" y="883"/>
                </a:cubicBezTo>
                <a:cubicBezTo>
                  <a:pt x="1302" y="1037"/>
                  <a:pt x="1059" y="1037"/>
                  <a:pt x="926" y="883"/>
                </a:cubicBezTo>
                <a:close/>
                <a:moveTo>
                  <a:pt x="1963" y="1964"/>
                </a:moveTo>
                <a:lnTo>
                  <a:pt x="1963" y="1964"/>
                </a:lnTo>
                <a:cubicBezTo>
                  <a:pt x="2051" y="1964"/>
                  <a:pt x="2021" y="1964"/>
                  <a:pt x="2051" y="1964"/>
                </a:cubicBezTo>
                <a:cubicBezTo>
                  <a:pt x="2073" y="1964"/>
                  <a:pt x="2096" y="1942"/>
                  <a:pt x="2096" y="1919"/>
                </a:cubicBezTo>
                <a:lnTo>
                  <a:pt x="2096" y="110"/>
                </a:lnTo>
                <a:cubicBezTo>
                  <a:pt x="2096" y="89"/>
                  <a:pt x="2073" y="66"/>
                  <a:pt x="2051" y="66"/>
                </a:cubicBezTo>
                <a:lnTo>
                  <a:pt x="1963" y="66"/>
                </a:lnTo>
                <a:cubicBezTo>
                  <a:pt x="1941" y="66"/>
                  <a:pt x="1919" y="89"/>
                  <a:pt x="1919" y="110"/>
                </a:cubicBezTo>
                <a:lnTo>
                  <a:pt x="1919" y="1919"/>
                </a:lnTo>
                <a:cubicBezTo>
                  <a:pt x="1919" y="1942"/>
                  <a:pt x="1941" y="1964"/>
                  <a:pt x="1963" y="1964"/>
                </a:cubicBezTo>
                <a:close/>
                <a:moveTo>
                  <a:pt x="2162" y="2096"/>
                </a:moveTo>
                <a:lnTo>
                  <a:pt x="2162" y="2096"/>
                </a:lnTo>
                <a:lnTo>
                  <a:pt x="43" y="2096"/>
                </a:lnTo>
                <a:cubicBezTo>
                  <a:pt x="22" y="2096"/>
                  <a:pt x="0" y="2118"/>
                  <a:pt x="0" y="2140"/>
                </a:cubicBezTo>
                <a:lnTo>
                  <a:pt x="0" y="2250"/>
                </a:lnTo>
                <a:cubicBezTo>
                  <a:pt x="0" y="2272"/>
                  <a:pt x="22" y="2295"/>
                  <a:pt x="43" y="2295"/>
                </a:cubicBezTo>
                <a:lnTo>
                  <a:pt x="2162" y="2295"/>
                </a:lnTo>
                <a:cubicBezTo>
                  <a:pt x="2184" y="2295"/>
                  <a:pt x="2206" y="2272"/>
                  <a:pt x="2206" y="2250"/>
                </a:cubicBezTo>
                <a:lnTo>
                  <a:pt x="2206" y="2140"/>
                </a:lnTo>
                <a:cubicBezTo>
                  <a:pt x="2206" y="2118"/>
                  <a:pt x="2184" y="2096"/>
                  <a:pt x="2162" y="2096"/>
                </a:cubicBezTo>
                <a:close/>
                <a:moveTo>
                  <a:pt x="88" y="1809"/>
                </a:moveTo>
                <a:lnTo>
                  <a:pt x="88" y="1809"/>
                </a:lnTo>
                <a:lnTo>
                  <a:pt x="88" y="1919"/>
                </a:lnTo>
                <a:cubicBezTo>
                  <a:pt x="88" y="1942"/>
                  <a:pt x="110" y="1964"/>
                  <a:pt x="132" y="1964"/>
                </a:cubicBezTo>
                <a:lnTo>
                  <a:pt x="220" y="1964"/>
                </a:lnTo>
                <a:cubicBezTo>
                  <a:pt x="243" y="1964"/>
                  <a:pt x="264" y="1942"/>
                  <a:pt x="264" y="1919"/>
                </a:cubicBezTo>
                <a:lnTo>
                  <a:pt x="264" y="1854"/>
                </a:lnTo>
                <a:lnTo>
                  <a:pt x="264" y="1831"/>
                </a:lnTo>
                <a:cubicBezTo>
                  <a:pt x="243" y="1831"/>
                  <a:pt x="154" y="1809"/>
                  <a:pt x="110" y="1787"/>
                </a:cubicBezTo>
                <a:cubicBezTo>
                  <a:pt x="88" y="1787"/>
                  <a:pt x="88" y="1787"/>
                  <a:pt x="88" y="1809"/>
                </a:cubicBezTo>
                <a:close/>
                <a:moveTo>
                  <a:pt x="551" y="1699"/>
                </a:moveTo>
                <a:lnTo>
                  <a:pt x="551" y="1699"/>
                </a:lnTo>
                <a:cubicBezTo>
                  <a:pt x="551" y="1919"/>
                  <a:pt x="551" y="1845"/>
                  <a:pt x="551" y="1919"/>
                </a:cubicBezTo>
                <a:cubicBezTo>
                  <a:pt x="551" y="1942"/>
                  <a:pt x="573" y="1964"/>
                  <a:pt x="596" y="1964"/>
                </a:cubicBezTo>
                <a:lnTo>
                  <a:pt x="684" y="1964"/>
                </a:lnTo>
                <a:cubicBezTo>
                  <a:pt x="706" y="1964"/>
                  <a:pt x="728" y="1942"/>
                  <a:pt x="728" y="1919"/>
                </a:cubicBezTo>
                <a:lnTo>
                  <a:pt x="728" y="1501"/>
                </a:lnTo>
                <a:lnTo>
                  <a:pt x="706" y="1501"/>
                </a:lnTo>
                <a:lnTo>
                  <a:pt x="551" y="1677"/>
                </a:lnTo>
                <a:lnTo>
                  <a:pt x="551" y="1699"/>
                </a:lnTo>
                <a:close/>
                <a:moveTo>
                  <a:pt x="1456" y="1236"/>
                </a:moveTo>
                <a:lnTo>
                  <a:pt x="1456" y="1236"/>
                </a:lnTo>
                <a:lnTo>
                  <a:pt x="1456" y="1919"/>
                </a:lnTo>
                <a:cubicBezTo>
                  <a:pt x="1456" y="1942"/>
                  <a:pt x="1478" y="1964"/>
                  <a:pt x="1500" y="1964"/>
                </a:cubicBezTo>
                <a:lnTo>
                  <a:pt x="1588" y="1964"/>
                </a:lnTo>
                <a:cubicBezTo>
                  <a:pt x="1632" y="1964"/>
                  <a:pt x="1655" y="1942"/>
                  <a:pt x="1655" y="1919"/>
                </a:cubicBezTo>
                <a:lnTo>
                  <a:pt x="1655" y="1125"/>
                </a:lnTo>
                <a:lnTo>
                  <a:pt x="1632" y="1125"/>
                </a:lnTo>
                <a:cubicBezTo>
                  <a:pt x="1588" y="1169"/>
                  <a:pt x="1522" y="1213"/>
                  <a:pt x="1456" y="1236"/>
                </a:cubicBezTo>
                <a:close/>
                <a:moveTo>
                  <a:pt x="992" y="1280"/>
                </a:moveTo>
                <a:lnTo>
                  <a:pt x="992" y="1280"/>
                </a:lnTo>
                <a:lnTo>
                  <a:pt x="992" y="1919"/>
                </a:lnTo>
                <a:cubicBezTo>
                  <a:pt x="992" y="1942"/>
                  <a:pt x="1014" y="1964"/>
                  <a:pt x="1059" y="1964"/>
                </a:cubicBezTo>
                <a:cubicBezTo>
                  <a:pt x="1147" y="1964"/>
                  <a:pt x="1117" y="1964"/>
                  <a:pt x="1147" y="1964"/>
                </a:cubicBezTo>
                <a:cubicBezTo>
                  <a:pt x="1169" y="1964"/>
                  <a:pt x="1191" y="1942"/>
                  <a:pt x="1191" y="1919"/>
                </a:cubicBezTo>
                <a:lnTo>
                  <a:pt x="1191" y="1302"/>
                </a:lnTo>
                <a:lnTo>
                  <a:pt x="1169" y="1302"/>
                </a:lnTo>
                <a:cubicBezTo>
                  <a:pt x="1147" y="1280"/>
                  <a:pt x="1081" y="1280"/>
                  <a:pt x="1014" y="1280"/>
                </a:cubicBezTo>
                <a:lnTo>
                  <a:pt x="992" y="1280"/>
                </a:lnTo>
                <a:close/>
              </a:path>
            </a:pathLst>
          </a:custGeom>
          <a:solidFill>
            <a:srgbClr val="8A002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prstClr val="black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52197" y="3076719"/>
            <a:ext cx="26266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8A0021"/>
                </a:solidFill>
                <a:latin typeface="Helvetica" panose="020B0604020202020204" pitchFamily="34" charset="0"/>
                <a:ea typeface="Graphik Semibold" charset="0"/>
                <a:cs typeface="Helvetica" panose="020B0604020202020204" pitchFamily="34" charset="0"/>
              </a:rPr>
              <a:t>IDENTIFY </a:t>
            </a:r>
            <a:endParaRPr lang="en-US" b="1" dirty="0" smtClean="0">
              <a:solidFill>
                <a:srgbClr val="8A0021"/>
              </a:solidFill>
              <a:latin typeface="Helvetica" panose="020B0604020202020204" pitchFamily="34" charset="0"/>
              <a:ea typeface="Graphik Semibold" charset="0"/>
              <a:cs typeface="Helvetica" panose="020B0604020202020204" pitchFamily="34" charset="0"/>
            </a:endParaRPr>
          </a:p>
          <a:p>
            <a:pPr algn="ctr"/>
            <a:r>
              <a:rPr lang="en-US" dirty="0" smtClean="0">
                <a:solidFill>
                  <a:prstClr val="black"/>
                </a:solidFill>
                <a:latin typeface="Helvetica" panose="020B0604020202020204" pitchFamily="34" charset="0"/>
                <a:ea typeface="Graphik Light" charset="0"/>
                <a:cs typeface="Helvetica" panose="020B0604020202020204" pitchFamily="34" charset="0"/>
              </a:rPr>
              <a:t>promising </a:t>
            </a:r>
            <a:r>
              <a:rPr lang="en-US" dirty="0">
                <a:solidFill>
                  <a:prstClr val="black"/>
                </a:solidFill>
                <a:latin typeface="Helvetica" panose="020B0604020202020204" pitchFamily="34" charset="0"/>
                <a:ea typeface="Graphik Light" charset="0"/>
                <a:cs typeface="Helvetica" panose="020B0604020202020204" pitchFamily="34" charset="0"/>
              </a:rPr>
              <a:t>solutions to urban challenges</a:t>
            </a:r>
            <a:endParaRPr lang="en-US" b="1" dirty="0">
              <a:solidFill>
                <a:srgbClr val="8A0021"/>
              </a:solidFill>
              <a:latin typeface="Helvetica" panose="020B0604020202020204" pitchFamily="34" charset="0"/>
              <a:ea typeface="Graphik Semibold" charset="0"/>
              <a:cs typeface="Helvetica" panose="020B0604020202020204" pitchFamily="34" charset="0"/>
            </a:endParaRPr>
          </a:p>
        </p:txBody>
      </p:sp>
      <p:sp>
        <p:nvSpPr>
          <p:cNvPr id="17" name="Freeform 13"/>
          <p:cNvSpPr>
            <a:spLocks noChangeArrowheads="1"/>
          </p:cNvSpPr>
          <p:nvPr/>
        </p:nvSpPr>
        <p:spPr bwMode="auto">
          <a:xfrm>
            <a:off x="4174497" y="1749350"/>
            <a:ext cx="795008" cy="1183462"/>
          </a:xfrm>
          <a:custGeom>
            <a:avLst/>
            <a:gdLst>
              <a:gd name="T0" fmla="*/ 397 w 1832"/>
              <a:gd name="T1" fmla="*/ 904 h 2450"/>
              <a:gd name="T2" fmla="*/ 485 w 1832"/>
              <a:gd name="T3" fmla="*/ 1125 h 2450"/>
              <a:gd name="T4" fmla="*/ 705 w 1832"/>
              <a:gd name="T5" fmla="*/ 816 h 2450"/>
              <a:gd name="T6" fmla="*/ 485 w 1832"/>
              <a:gd name="T7" fmla="*/ 1478 h 2450"/>
              <a:gd name="T8" fmla="*/ 332 w 1832"/>
              <a:gd name="T9" fmla="*/ 1456 h 2450"/>
              <a:gd name="T10" fmla="*/ 772 w 1832"/>
              <a:gd name="T11" fmla="*/ 1367 h 2450"/>
              <a:gd name="T12" fmla="*/ 485 w 1832"/>
              <a:gd name="T13" fmla="*/ 1478 h 2450"/>
              <a:gd name="T14" fmla="*/ 397 w 1832"/>
              <a:gd name="T15" fmla="*/ 1875 h 2450"/>
              <a:gd name="T16" fmla="*/ 485 w 1832"/>
              <a:gd name="T17" fmla="*/ 2096 h 2450"/>
              <a:gd name="T18" fmla="*/ 705 w 1832"/>
              <a:gd name="T19" fmla="*/ 1787 h 2450"/>
              <a:gd name="T20" fmla="*/ 1698 w 1832"/>
              <a:gd name="T21" fmla="*/ 331 h 2450"/>
              <a:gd name="T22" fmla="*/ 1412 w 1832"/>
              <a:gd name="T23" fmla="*/ 331 h 2450"/>
              <a:gd name="T24" fmla="*/ 1367 w 1832"/>
              <a:gd name="T25" fmla="*/ 220 h 2450"/>
              <a:gd name="T26" fmla="*/ 926 w 1832"/>
              <a:gd name="T27" fmla="*/ 0 h 2450"/>
              <a:gd name="T28" fmla="*/ 464 w 1832"/>
              <a:gd name="T29" fmla="*/ 220 h 2450"/>
              <a:gd name="T30" fmla="*/ 420 w 1832"/>
              <a:gd name="T31" fmla="*/ 331 h 2450"/>
              <a:gd name="T32" fmla="*/ 0 w 1832"/>
              <a:gd name="T33" fmla="*/ 463 h 2450"/>
              <a:gd name="T34" fmla="*/ 132 w 1832"/>
              <a:gd name="T35" fmla="*/ 2449 h 2450"/>
              <a:gd name="T36" fmla="*/ 1831 w 1832"/>
              <a:gd name="T37" fmla="*/ 2316 h 2450"/>
              <a:gd name="T38" fmla="*/ 1698 w 1832"/>
              <a:gd name="T39" fmla="*/ 331 h 2450"/>
              <a:gd name="T40" fmla="*/ 926 w 1832"/>
              <a:gd name="T41" fmla="*/ 110 h 2450"/>
              <a:gd name="T42" fmla="*/ 926 w 1832"/>
              <a:gd name="T43" fmla="*/ 419 h 2450"/>
              <a:gd name="T44" fmla="*/ 926 w 1832"/>
              <a:gd name="T45" fmla="*/ 110 h 2450"/>
              <a:gd name="T46" fmla="*/ 420 w 1832"/>
              <a:gd name="T47" fmla="*/ 485 h 2450"/>
              <a:gd name="T48" fmla="*/ 464 w 1832"/>
              <a:gd name="T49" fmla="*/ 639 h 2450"/>
              <a:gd name="T50" fmla="*/ 1412 w 1832"/>
              <a:gd name="T51" fmla="*/ 573 h 2450"/>
              <a:gd name="T52" fmla="*/ 1588 w 1832"/>
              <a:gd name="T53" fmla="*/ 485 h 2450"/>
              <a:gd name="T54" fmla="*/ 1654 w 1832"/>
              <a:gd name="T55" fmla="*/ 2228 h 2450"/>
              <a:gd name="T56" fmla="*/ 243 w 1832"/>
              <a:gd name="T57" fmla="*/ 2294 h 2450"/>
              <a:gd name="T58" fmla="*/ 177 w 1832"/>
              <a:gd name="T59" fmla="*/ 551 h 2450"/>
              <a:gd name="T60" fmla="*/ 420 w 1832"/>
              <a:gd name="T61" fmla="*/ 485 h 2450"/>
              <a:gd name="T62" fmla="*/ 926 w 1832"/>
              <a:gd name="T63" fmla="*/ 992 h 2450"/>
              <a:gd name="T64" fmla="*/ 1500 w 1832"/>
              <a:gd name="T65" fmla="*/ 882 h 2450"/>
              <a:gd name="T66" fmla="*/ 1500 w 1832"/>
              <a:gd name="T67" fmla="*/ 1478 h 2450"/>
              <a:gd name="T68" fmla="*/ 926 w 1832"/>
              <a:gd name="T69" fmla="*/ 1367 h 2450"/>
              <a:gd name="T70" fmla="*/ 1500 w 1832"/>
              <a:gd name="T71" fmla="*/ 1478 h 2450"/>
              <a:gd name="T72" fmla="*/ 926 w 1832"/>
              <a:gd name="T73" fmla="*/ 1963 h 2450"/>
              <a:gd name="T74" fmla="*/ 1500 w 1832"/>
              <a:gd name="T75" fmla="*/ 1853 h 24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832" h="2450">
                <a:moveTo>
                  <a:pt x="485" y="1014"/>
                </a:moveTo>
                <a:lnTo>
                  <a:pt x="397" y="904"/>
                </a:lnTo>
                <a:lnTo>
                  <a:pt x="332" y="970"/>
                </a:lnTo>
                <a:lnTo>
                  <a:pt x="485" y="1125"/>
                </a:lnTo>
                <a:lnTo>
                  <a:pt x="772" y="882"/>
                </a:lnTo>
                <a:lnTo>
                  <a:pt x="705" y="816"/>
                </a:lnTo>
                <a:lnTo>
                  <a:pt x="485" y="1014"/>
                </a:lnTo>
                <a:close/>
                <a:moveTo>
                  <a:pt x="485" y="1478"/>
                </a:moveTo>
                <a:lnTo>
                  <a:pt x="397" y="1390"/>
                </a:lnTo>
                <a:lnTo>
                  <a:pt x="332" y="1456"/>
                </a:lnTo>
                <a:lnTo>
                  <a:pt x="485" y="1610"/>
                </a:lnTo>
                <a:lnTo>
                  <a:pt x="772" y="1367"/>
                </a:lnTo>
                <a:lnTo>
                  <a:pt x="705" y="1302"/>
                </a:lnTo>
                <a:lnTo>
                  <a:pt x="485" y="1478"/>
                </a:lnTo>
                <a:close/>
                <a:moveTo>
                  <a:pt x="485" y="1963"/>
                </a:moveTo>
                <a:lnTo>
                  <a:pt x="397" y="1875"/>
                </a:lnTo>
                <a:lnTo>
                  <a:pt x="332" y="1941"/>
                </a:lnTo>
                <a:lnTo>
                  <a:pt x="485" y="2096"/>
                </a:lnTo>
                <a:lnTo>
                  <a:pt x="772" y="1853"/>
                </a:lnTo>
                <a:lnTo>
                  <a:pt x="705" y="1787"/>
                </a:lnTo>
                <a:lnTo>
                  <a:pt x="485" y="1963"/>
                </a:lnTo>
                <a:close/>
                <a:moveTo>
                  <a:pt x="1698" y="331"/>
                </a:moveTo>
                <a:lnTo>
                  <a:pt x="1698" y="331"/>
                </a:lnTo>
                <a:lnTo>
                  <a:pt x="1412" y="331"/>
                </a:lnTo>
                <a:lnTo>
                  <a:pt x="1412" y="264"/>
                </a:lnTo>
                <a:cubicBezTo>
                  <a:pt x="1412" y="243"/>
                  <a:pt x="1390" y="220"/>
                  <a:pt x="1367" y="220"/>
                </a:cubicBezTo>
                <a:lnTo>
                  <a:pt x="1169" y="220"/>
                </a:lnTo>
                <a:cubicBezTo>
                  <a:pt x="1147" y="66"/>
                  <a:pt x="1014" y="0"/>
                  <a:pt x="926" y="0"/>
                </a:cubicBezTo>
                <a:cubicBezTo>
                  <a:pt x="816" y="0"/>
                  <a:pt x="684" y="66"/>
                  <a:pt x="661" y="220"/>
                </a:cubicBezTo>
                <a:lnTo>
                  <a:pt x="464" y="220"/>
                </a:lnTo>
                <a:cubicBezTo>
                  <a:pt x="442" y="220"/>
                  <a:pt x="420" y="243"/>
                  <a:pt x="420" y="264"/>
                </a:cubicBezTo>
                <a:lnTo>
                  <a:pt x="420" y="331"/>
                </a:lnTo>
                <a:lnTo>
                  <a:pt x="132" y="331"/>
                </a:lnTo>
                <a:cubicBezTo>
                  <a:pt x="67" y="331"/>
                  <a:pt x="0" y="396"/>
                  <a:pt x="0" y="463"/>
                </a:cubicBezTo>
                <a:lnTo>
                  <a:pt x="0" y="2316"/>
                </a:lnTo>
                <a:cubicBezTo>
                  <a:pt x="0" y="2383"/>
                  <a:pt x="67" y="2449"/>
                  <a:pt x="132" y="2449"/>
                </a:cubicBezTo>
                <a:lnTo>
                  <a:pt x="1698" y="2449"/>
                </a:lnTo>
                <a:cubicBezTo>
                  <a:pt x="1765" y="2449"/>
                  <a:pt x="1831" y="2383"/>
                  <a:pt x="1831" y="2316"/>
                </a:cubicBezTo>
                <a:lnTo>
                  <a:pt x="1831" y="463"/>
                </a:lnTo>
                <a:cubicBezTo>
                  <a:pt x="1831" y="396"/>
                  <a:pt x="1765" y="331"/>
                  <a:pt x="1698" y="331"/>
                </a:cubicBezTo>
                <a:close/>
                <a:moveTo>
                  <a:pt x="926" y="110"/>
                </a:moveTo>
                <a:lnTo>
                  <a:pt x="926" y="110"/>
                </a:lnTo>
                <a:cubicBezTo>
                  <a:pt x="992" y="110"/>
                  <a:pt x="1058" y="176"/>
                  <a:pt x="1058" y="264"/>
                </a:cubicBezTo>
                <a:cubicBezTo>
                  <a:pt x="1058" y="353"/>
                  <a:pt x="992" y="419"/>
                  <a:pt x="926" y="419"/>
                </a:cubicBezTo>
                <a:cubicBezTo>
                  <a:pt x="837" y="419"/>
                  <a:pt x="772" y="353"/>
                  <a:pt x="772" y="264"/>
                </a:cubicBezTo>
                <a:cubicBezTo>
                  <a:pt x="772" y="176"/>
                  <a:pt x="837" y="110"/>
                  <a:pt x="926" y="110"/>
                </a:cubicBezTo>
                <a:close/>
                <a:moveTo>
                  <a:pt x="420" y="485"/>
                </a:moveTo>
                <a:lnTo>
                  <a:pt x="420" y="485"/>
                </a:lnTo>
                <a:cubicBezTo>
                  <a:pt x="420" y="573"/>
                  <a:pt x="420" y="543"/>
                  <a:pt x="420" y="573"/>
                </a:cubicBezTo>
                <a:cubicBezTo>
                  <a:pt x="420" y="617"/>
                  <a:pt x="442" y="639"/>
                  <a:pt x="464" y="639"/>
                </a:cubicBezTo>
                <a:lnTo>
                  <a:pt x="1367" y="639"/>
                </a:lnTo>
                <a:cubicBezTo>
                  <a:pt x="1390" y="639"/>
                  <a:pt x="1412" y="617"/>
                  <a:pt x="1412" y="573"/>
                </a:cubicBezTo>
                <a:cubicBezTo>
                  <a:pt x="1412" y="485"/>
                  <a:pt x="1412" y="514"/>
                  <a:pt x="1412" y="485"/>
                </a:cubicBezTo>
                <a:lnTo>
                  <a:pt x="1588" y="485"/>
                </a:lnTo>
                <a:cubicBezTo>
                  <a:pt x="1632" y="485"/>
                  <a:pt x="1654" y="529"/>
                  <a:pt x="1654" y="551"/>
                </a:cubicBezTo>
                <a:lnTo>
                  <a:pt x="1654" y="2228"/>
                </a:lnTo>
                <a:cubicBezTo>
                  <a:pt x="1654" y="2272"/>
                  <a:pt x="1632" y="2294"/>
                  <a:pt x="1588" y="2294"/>
                </a:cubicBezTo>
                <a:lnTo>
                  <a:pt x="243" y="2294"/>
                </a:lnTo>
                <a:cubicBezTo>
                  <a:pt x="199" y="2294"/>
                  <a:pt x="177" y="2272"/>
                  <a:pt x="177" y="2228"/>
                </a:cubicBezTo>
                <a:lnTo>
                  <a:pt x="177" y="551"/>
                </a:lnTo>
                <a:cubicBezTo>
                  <a:pt x="177" y="529"/>
                  <a:pt x="199" y="485"/>
                  <a:pt x="243" y="485"/>
                </a:cubicBezTo>
                <a:lnTo>
                  <a:pt x="420" y="485"/>
                </a:lnTo>
                <a:close/>
                <a:moveTo>
                  <a:pt x="1500" y="992"/>
                </a:moveTo>
                <a:lnTo>
                  <a:pt x="926" y="992"/>
                </a:lnTo>
                <a:lnTo>
                  <a:pt x="926" y="882"/>
                </a:lnTo>
                <a:lnTo>
                  <a:pt x="1500" y="882"/>
                </a:lnTo>
                <a:lnTo>
                  <a:pt x="1500" y="992"/>
                </a:lnTo>
                <a:close/>
                <a:moveTo>
                  <a:pt x="1500" y="1478"/>
                </a:moveTo>
                <a:lnTo>
                  <a:pt x="926" y="1478"/>
                </a:lnTo>
                <a:lnTo>
                  <a:pt x="926" y="1367"/>
                </a:lnTo>
                <a:lnTo>
                  <a:pt x="1500" y="1367"/>
                </a:lnTo>
                <a:lnTo>
                  <a:pt x="1500" y="1478"/>
                </a:lnTo>
                <a:close/>
                <a:moveTo>
                  <a:pt x="1500" y="1963"/>
                </a:moveTo>
                <a:lnTo>
                  <a:pt x="926" y="1963"/>
                </a:lnTo>
                <a:lnTo>
                  <a:pt x="926" y="1853"/>
                </a:lnTo>
                <a:lnTo>
                  <a:pt x="1500" y="1853"/>
                </a:lnTo>
                <a:lnTo>
                  <a:pt x="1500" y="1963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3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>
              <a:solidFill>
                <a:prstClr val="black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258666" y="3076763"/>
            <a:ext cx="26266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solidFill>
                  <a:prstClr val="white">
                    <a:lumMod val="65000"/>
                  </a:prstClr>
                </a:solidFill>
                <a:latin typeface="Helvetica" panose="020B0604020202020204" pitchFamily="34" charset="0"/>
                <a:ea typeface="Graphik Semibold" charset="0"/>
                <a:cs typeface="Helvetica" panose="020B0604020202020204" pitchFamily="34" charset="0"/>
              </a:rPr>
              <a:t>TEST</a:t>
            </a:r>
          </a:p>
          <a:p>
            <a:pPr algn="ctr"/>
            <a:r>
              <a:rPr lang="en-US" dirty="0">
                <a:solidFill>
                  <a:prstClr val="white">
                    <a:lumMod val="65000"/>
                  </a:prstClr>
                </a:solidFill>
                <a:latin typeface="Helvetica" panose="020B0604020202020204" pitchFamily="34" charset="0"/>
                <a:ea typeface="Graphik Light" charset="0"/>
                <a:cs typeface="Helvetica" panose="020B0604020202020204" pitchFamily="34" charset="0"/>
              </a:rPr>
              <a:t>the most promising urban policies and programs</a:t>
            </a:r>
            <a:endParaRPr lang="en-US" b="1" dirty="0">
              <a:solidFill>
                <a:prstClr val="white">
                  <a:lumMod val="65000"/>
                </a:prstClr>
              </a:solidFill>
              <a:latin typeface="Helvetica" panose="020B0604020202020204" pitchFamily="34" charset="0"/>
              <a:ea typeface="Graphik Semibold" charset="0"/>
              <a:cs typeface="Helvetica" panose="020B0604020202020204" pitchFamily="34" charset="0"/>
            </a:endParaRPr>
          </a:p>
        </p:txBody>
      </p:sp>
      <p:sp>
        <p:nvSpPr>
          <p:cNvPr id="19" name="Freeform 17"/>
          <p:cNvSpPr>
            <a:spLocks noChangeArrowheads="1"/>
          </p:cNvSpPr>
          <p:nvPr/>
        </p:nvSpPr>
        <p:spPr bwMode="auto">
          <a:xfrm>
            <a:off x="6991274" y="1859200"/>
            <a:ext cx="867388" cy="963764"/>
          </a:xfrm>
          <a:custGeom>
            <a:avLst/>
            <a:gdLst>
              <a:gd name="T0" fmla="*/ 0 w 2163"/>
              <a:gd name="T1" fmla="*/ 0 h 2164"/>
              <a:gd name="T2" fmla="*/ 0 w 2163"/>
              <a:gd name="T3" fmla="*/ 1081 h 2164"/>
              <a:gd name="T4" fmla="*/ 221 w 2163"/>
              <a:gd name="T5" fmla="*/ 1081 h 2164"/>
              <a:gd name="T6" fmla="*/ 221 w 2163"/>
              <a:gd name="T7" fmla="*/ 221 h 2164"/>
              <a:gd name="T8" fmla="*/ 1942 w 2163"/>
              <a:gd name="T9" fmla="*/ 221 h 2164"/>
              <a:gd name="T10" fmla="*/ 1942 w 2163"/>
              <a:gd name="T11" fmla="*/ 1942 h 2164"/>
              <a:gd name="T12" fmla="*/ 1081 w 2163"/>
              <a:gd name="T13" fmla="*/ 1942 h 2164"/>
              <a:gd name="T14" fmla="*/ 1081 w 2163"/>
              <a:gd name="T15" fmla="*/ 2163 h 2164"/>
              <a:gd name="T16" fmla="*/ 2162 w 2163"/>
              <a:gd name="T17" fmla="*/ 2163 h 2164"/>
              <a:gd name="T18" fmla="*/ 2162 w 2163"/>
              <a:gd name="T19" fmla="*/ 0 h 2164"/>
              <a:gd name="T20" fmla="*/ 0 w 2163"/>
              <a:gd name="T21" fmla="*/ 0 h 2164"/>
              <a:gd name="T22" fmla="*/ 1721 w 2163"/>
              <a:gd name="T23" fmla="*/ 971 h 2164"/>
              <a:gd name="T24" fmla="*/ 1721 w 2163"/>
              <a:gd name="T25" fmla="*/ 442 h 2164"/>
              <a:gd name="T26" fmla="*/ 1191 w 2163"/>
              <a:gd name="T27" fmla="*/ 442 h 2164"/>
              <a:gd name="T28" fmla="*/ 1390 w 2163"/>
              <a:gd name="T29" fmla="*/ 618 h 2164"/>
              <a:gd name="T30" fmla="*/ 905 w 2163"/>
              <a:gd name="T31" fmla="*/ 1104 h 2164"/>
              <a:gd name="T32" fmla="*/ 1059 w 2163"/>
              <a:gd name="T33" fmla="*/ 1258 h 2164"/>
              <a:gd name="T34" fmla="*/ 1523 w 2163"/>
              <a:gd name="T35" fmla="*/ 773 h 2164"/>
              <a:gd name="T36" fmla="*/ 1721 w 2163"/>
              <a:gd name="T37" fmla="*/ 971 h 2164"/>
              <a:gd name="T38" fmla="*/ 0 w 2163"/>
              <a:gd name="T39" fmla="*/ 1302 h 2164"/>
              <a:gd name="T40" fmla="*/ 861 w 2163"/>
              <a:gd name="T41" fmla="*/ 1302 h 2164"/>
              <a:gd name="T42" fmla="*/ 861 w 2163"/>
              <a:gd name="T43" fmla="*/ 2163 h 2164"/>
              <a:gd name="T44" fmla="*/ 0 w 2163"/>
              <a:gd name="T45" fmla="*/ 2163 h 2164"/>
              <a:gd name="T46" fmla="*/ 0 w 2163"/>
              <a:gd name="T47" fmla="*/ 1302 h 2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163" h="2164">
                <a:moveTo>
                  <a:pt x="0" y="0"/>
                </a:moveTo>
                <a:lnTo>
                  <a:pt x="0" y="1081"/>
                </a:lnTo>
                <a:lnTo>
                  <a:pt x="221" y="1081"/>
                </a:lnTo>
                <a:lnTo>
                  <a:pt x="221" y="221"/>
                </a:lnTo>
                <a:lnTo>
                  <a:pt x="1942" y="221"/>
                </a:lnTo>
                <a:lnTo>
                  <a:pt x="1942" y="1942"/>
                </a:lnTo>
                <a:lnTo>
                  <a:pt x="1081" y="1942"/>
                </a:lnTo>
                <a:lnTo>
                  <a:pt x="1081" y="2163"/>
                </a:lnTo>
                <a:lnTo>
                  <a:pt x="2162" y="2163"/>
                </a:lnTo>
                <a:lnTo>
                  <a:pt x="2162" y="0"/>
                </a:lnTo>
                <a:lnTo>
                  <a:pt x="0" y="0"/>
                </a:lnTo>
                <a:close/>
                <a:moveTo>
                  <a:pt x="1721" y="971"/>
                </a:moveTo>
                <a:lnTo>
                  <a:pt x="1721" y="442"/>
                </a:lnTo>
                <a:lnTo>
                  <a:pt x="1191" y="442"/>
                </a:lnTo>
                <a:lnTo>
                  <a:pt x="1390" y="618"/>
                </a:lnTo>
                <a:lnTo>
                  <a:pt x="905" y="1104"/>
                </a:lnTo>
                <a:lnTo>
                  <a:pt x="1059" y="1258"/>
                </a:lnTo>
                <a:lnTo>
                  <a:pt x="1523" y="773"/>
                </a:lnTo>
                <a:lnTo>
                  <a:pt x="1721" y="971"/>
                </a:lnTo>
                <a:close/>
                <a:moveTo>
                  <a:pt x="0" y="1302"/>
                </a:moveTo>
                <a:lnTo>
                  <a:pt x="861" y="1302"/>
                </a:lnTo>
                <a:lnTo>
                  <a:pt x="861" y="2163"/>
                </a:lnTo>
                <a:lnTo>
                  <a:pt x="0" y="2163"/>
                </a:lnTo>
                <a:lnTo>
                  <a:pt x="0" y="1302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3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>
              <a:solidFill>
                <a:prstClr val="black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111634" y="3076763"/>
            <a:ext cx="26266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solidFill>
                  <a:prstClr val="white">
                    <a:lumMod val="65000"/>
                  </a:prstClr>
                </a:solidFill>
                <a:latin typeface="Helvetica" panose="020B0604020202020204" pitchFamily="34" charset="0"/>
                <a:ea typeface="Graphik Semibold" charset="0"/>
                <a:cs typeface="Helvetica" panose="020B0604020202020204" pitchFamily="34" charset="0"/>
              </a:rPr>
              <a:t>SCALE UP</a:t>
            </a:r>
          </a:p>
          <a:p>
            <a:pPr algn="ctr"/>
            <a:r>
              <a:rPr lang="en-US" dirty="0">
                <a:solidFill>
                  <a:prstClr val="white">
                    <a:lumMod val="65000"/>
                  </a:prstClr>
                </a:solidFill>
                <a:latin typeface="Helvetica" panose="020B0604020202020204" pitchFamily="34" charset="0"/>
                <a:ea typeface="Graphik Light" charset="0"/>
                <a:cs typeface="Helvetica" panose="020B0604020202020204" pitchFamily="34" charset="0"/>
              </a:rPr>
              <a:t>the most effective and cost-efficient policies and programs</a:t>
            </a:r>
            <a:endParaRPr lang="en-US" b="1" dirty="0">
              <a:solidFill>
                <a:prstClr val="white">
                  <a:lumMod val="65000"/>
                </a:prstClr>
              </a:solidFill>
              <a:latin typeface="Helvetica" panose="020B0604020202020204" pitchFamily="34" charset="0"/>
              <a:ea typeface="Graphik Semibold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46789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2" descr="C:\Users\nathanhess\Pictures\englewood homes 5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9640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http://photos1.blogger.com/blogger/6131/1398/1600/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">
            <a:off x="5014993" y="973619"/>
            <a:ext cx="4022075" cy="301655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/>
        </p:spPr>
      </p:pic>
      <p:pic>
        <p:nvPicPr>
          <p:cNvPr id="4" name="Picture 2" descr="http://1.bp.blogspot.com/-V_-H18sioss/T9sqGfUg23I/AAAAAAAAHB4/1DJTPR5a2W0/s1600/awkward_family_photos_part_8_640_01+-+Copy+(11)+-+Copy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420000">
            <a:off x="456186" y="736762"/>
            <a:ext cx="4583083" cy="389042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2315959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8857" y="955622"/>
            <a:ext cx="806631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dirty="0">
                <a:solidFill>
                  <a:prstClr val="black"/>
                </a:solidFill>
                <a:latin typeface="Helvetica" panose="020B0604020202020204" pitchFamily="34" charset="0"/>
                <a:ea typeface="Graphik Light" charset="0"/>
                <a:cs typeface="Helvetica" panose="020B0604020202020204" pitchFamily="34" charset="0"/>
              </a:rPr>
              <a:t>INNOVATION CHALLENGE: A KEY MECHANISM FOR DISCOVERY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1279567" y="2082199"/>
            <a:ext cx="1142136" cy="1124633"/>
            <a:chOff x="1618060" y="1786124"/>
            <a:chExt cx="2059119" cy="1824812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23254" y="2464118"/>
              <a:ext cx="1266986" cy="1146818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00599" y="1786124"/>
              <a:ext cx="576580" cy="544495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03377" y="2009162"/>
              <a:ext cx="576580" cy="544495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618060" y="1792175"/>
              <a:ext cx="576580" cy="544495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26370" y="1836664"/>
              <a:ext cx="339640" cy="367030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19069" y="1836664"/>
              <a:ext cx="339640" cy="367030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20658" y="2068531"/>
              <a:ext cx="339640" cy="367030"/>
            </a:xfrm>
            <a:prstGeom prst="rect">
              <a:avLst/>
            </a:prstGeom>
          </p:spPr>
        </p:pic>
      </p:grpSp>
      <p:grpSp>
        <p:nvGrpSpPr>
          <p:cNvPr id="26" name="Group 25"/>
          <p:cNvGrpSpPr/>
          <p:nvPr/>
        </p:nvGrpSpPr>
        <p:grpSpPr>
          <a:xfrm>
            <a:off x="3736546" y="2219656"/>
            <a:ext cx="1670908" cy="849716"/>
            <a:chOff x="3416437" y="2119611"/>
            <a:chExt cx="1670908" cy="764744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86437" y="2119611"/>
              <a:ext cx="700908" cy="764744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416437" y="2135611"/>
              <a:ext cx="874284" cy="732744"/>
            </a:xfrm>
            <a:prstGeom prst="rect">
              <a:avLst/>
            </a:prstGeom>
          </p:spPr>
        </p:pic>
      </p:grpSp>
      <p:cxnSp>
        <p:nvCxnSpPr>
          <p:cNvPr id="16" name="Straight Connector 15"/>
          <p:cNvCxnSpPr/>
          <p:nvPr/>
        </p:nvCxnSpPr>
        <p:spPr>
          <a:xfrm>
            <a:off x="2662747" y="2644514"/>
            <a:ext cx="817472" cy="0"/>
          </a:xfrm>
          <a:prstGeom prst="line">
            <a:avLst/>
          </a:prstGeom>
          <a:ln w="15875" cap="rnd">
            <a:solidFill>
              <a:srgbClr val="7C0622"/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5796500" y="2644514"/>
            <a:ext cx="817472" cy="0"/>
          </a:xfrm>
          <a:prstGeom prst="line">
            <a:avLst/>
          </a:prstGeom>
          <a:ln w="15875" cap="rnd">
            <a:solidFill>
              <a:srgbClr val="7C0622"/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654062" y="3433576"/>
            <a:ext cx="2292338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00" dirty="0" smtClean="0">
                <a:solidFill>
                  <a:srgbClr val="8A0021"/>
                </a:solidFill>
                <a:latin typeface="Helvetica" panose="020B0604020202020204" pitchFamily="34" charset="0"/>
                <a:ea typeface="Graphik" charset="0"/>
                <a:cs typeface="Helvetica" panose="020B0604020202020204" pitchFamily="34" charset="0"/>
              </a:rPr>
              <a:t>Policymakers, practitioners, and community members propose promising solutions </a:t>
            </a:r>
          </a:p>
          <a:p>
            <a:pPr algn="ctr"/>
            <a:r>
              <a:rPr lang="en-US" sz="1300" dirty="0">
                <a:solidFill>
                  <a:srgbClr val="8A0021"/>
                </a:solidFill>
                <a:latin typeface="Helvetica" panose="020B0604020202020204" pitchFamily="34" charset="0"/>
                <a:ea typeface="Graphik" charset="0"/>
                <a:cs typeface="Helvetica" panose="020B0604020202020204" pitchFamily="34" charset="0"/>
              </a:rPr>
              <a:t>t</a:t>
            </a:r>
            <a:r>
              <a:rPr lang="en-US" sz="1300" dirty="0" smtClean="0">
                <a:solidFill>
                  <a:srgbClr val="8A0021"/>
                </a:solidFill>
                <a:latin typeface="Helvetica" panose="020B0604020202020204" pitchFamily="34" charset="0"/>
                <a:ea typeface="Graphik" charset="0"/>
                <a:cs typeface="Helvetica" panose="020B0604020202020204" pitchFamily="34" charset="0"/>
              </a:rPr>
              <a:t>o urban challenge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505200" y="3433617"/>
            <a:ext cx="2133600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00" dirty="0">
                <a:solidFill>
                  <a:srgbClr val="8A0021"/>
                </a:solidFill>
                <a:latin typeface="Helvetica" panose="020B0604020202020204" pitchFamily="34" charset="0"/>
                <a:ea typeface="Graphik" charset="0"/>
                <a:cs typeface="Helvetica" panose="020B0604020202020204" pitchFamily="34" charset="0"/>
              </a:rPr>
              <a:t>Urban Labs researchers and other experts review and select ideas</a:t>
            </a:r>
            <a:endParaRPr lang="en-US" sz="1300" dirty="0" smtClean="0">
              <a:solidFill>
                <a:srgbClr val="8A0021"/>
              </a:solidFill>
              <a:latin typeface="Helvetica" panose="020B0604020202020204" pitchFamily="34" charset="0"/>
              <a:ea typeface="Graphik" charset="0"/>
              <a:cs typeface="Helvetica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045320" y="3433613"/>
            <a:ext cx="2682120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00" dirty="0">
                <a:solidFill>
                  <a:srgbClr val="8A0021"/>
                </a:solidFill>
                <a:latin typeface="Helvetica" panose="020B0604020202020204" pitchFamily="34" charset="0"/>
                <a:ea typeface="Graphik" charset="0"/>
                <a:cs typeface="Helvetica" panose="020B0604020202020204" pitchFamily="34" charset="0"/>
              </a:rPr>
              <a:t>Urban Labs rigorously evaluates and helps scale the most cost-efficient and effective programs and policies, in Chicago and across the globe</a:t>
            </a:r>
            <a:endParaRPr lang="en-US" sz="1300" dirty="0" smtClean="0">
              <a:solidFill>
                <a:srgbClr val="8A0021"/>
              </a:solidFill>
              <a:latin typeface="Helvetica" panose="020B0604020202020204" pitchFamily="34" charset="0"/>
              <a:ea typeface="Graphik" charset="0"/>
              <a:cs typeface="Helvetica" panose="020B0604020202020204" pitchFamily="34" charset="0"/>
            </a:endParaRPr>
          </a:p>
        </p:txBody>
      </p:sp>
      <p:sp>
        <p:nvSpPr>
          <p:cNvPr id="27" name="Freeform 17"/>
          <p:cNvSpPr>
            <a:spLocks noChangeArrowheads="1"/>
          </p:cNvSpPr>
          <p:nvPr/>
        </p:nvSpPr>
        <p:spPr bwMode="auto">
          <a:xfrm>
            <a:off x="6952686" y="2162632"/>
            <a:ext cx="867388" cy="963764"/>
          </a:xfrm>
          <a:custGeom>
            <a:avLst/>
            <a:gdLst>
              <a:gd name="T0" fmla="*/ 0 w 2163"/>
              <a:gd name="T1" fmla="*/ 0 h 2164"/>
              <a:gd name="T2" fmla="*/ 0 w 2163"/>
              <a:gd name="T3" fmla="*/ 1081 h 2164"/>
              <a:gd name="T4" fmla="*/ 221 w 2163"/>
              <a:gd name="T5" fmla="*/ 1081 h 2164"/>
              <a:gd name="T6" fmla="*/ 221 w 2163"/>
              <a:gd name="T7" fmla="*/ 221 h 2164"/>
              <a:gd name="T8" fmla="*/ 1942 w 2163"/>
              <a:gd name="T9" fmla="*/ 221 h 2164"/>
              <a:gd name="T10" fmla="*/ 1942 w 2163"/>
              <a:gd name="T11" fmla="*/ 1942 h 2164"/>
              <a:gd name="T12" fmla="*/ 1081 w 2163"/>
              <a:gd name="T13" fmla="*/ 1942 h 2164"/>
              <a:gd name="T14" fmla="*/ 1081 w 2163"/>
              <a:gd name="T15" fmla="*/ 2163 h 2164"/>
              <a:gd name="T16" fmla="*/ 2162 w 2163"/>
              <a:gd name="T17" fmla="*/ 2163 h 2164"/>
              <a:gd name="T18" fmla="*/ 2162 w 2163"/>
              <a:gd name="T19" fmla="*/ 0 h 2164"/>
              <a:gd name="T20" fmla="*/ 0 w 2163"/>
              <a:gd name="T21" fmla="*/ 0 h 2164"/>
              <a:gd name="T22" fmla="*/ 1721 w 2163"/>
              <a:gd name="T23" fmla="*/ 971 h 2164"/>
              <a:gd name="T24" fmla="*/ 1721 w 2163"/>
              <a:gd name="T25" fmla="*/ 442 h 2164"/>
              <a:gd name="T26" fmla="*/ 1191 w 2163"/>
              <a:gd name="T27" fmla="*/ 442 h 2164"/>
              <a:gd name="T28" fmla="*/ 1390 w 2163"/>
              <a:gd name="T29" fmla="*/ 618 h 2164"/>
              <a:gd name="T30" fmla="*/ 905 w 2163"/>
              <a:gd name="T31" fmla="*/ 1104 h 2164"/>
              <a:gd name="T32" fmla="*/ 1059 w 2163"/>
              <a:gd name="T33" fmla="*/ 1258 h 2164"/>
              <a:gd name="T34" fmla="*/ 1523 w 2163"/>
              <a:gd name="T35" fmla="*/ 773 h 2164"/>
              <a:gd name="T36" fmla="*/ 1721 w 2163"/>
              <a:gd name="T37" fmla="*/ 971 h 2164"/>
              <a:gd name="T38" fmla="*/ 0 w 2163"/>
              <a:gd name="T39" fmla="*/ 1302 h 2164"/>
              <a:gd name="T40" fmla="*/ 861 w 2163"/>
              <a:gd name="T41" fmla="*/ 1302 h 2164"/>
              <a:gd name="T42" fmla="*/ 861 w 2163"/>
              <a:gd name="T43" fmla="*/ 2163 h 2164"/>
              <a:gd name="T44" fmla="*/ 0 w 2163"/>
              <a:gd name="T45" fmla="*/ 2163 h 2164"/>
              <a:gd name="T46" fmla="*/ 0 w 2163"/>
              <a:gd name="T47" fmla="*/ 1302 h 2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163" h="2164">
                <a:moveTo>
                  <a:pt x="0" y="0"/>
                </a:moveTo>
                <a:lnTo>
                  <a:pt x="0" y="1081"/>
                </a:lnTo>
                <a:lnTo>
                  <a:pt x="221" y="1081"/>
                </a:lnTo>
                <a:lnTo>
                  <a:pt x="221" y="221"/>
                </a:lnTo>
                <a:lnTo>
                  <a:pt x="1942" y="221"/>
                </a:lnTo>
                <a:lnTo>
                  <a:pt x="1942" y="1942"/>
                </a:lnTo>
                <a:lnTo>
                  <a:pt x="1081" y="1942"/>
                </a:lnTo>
                <a:lnTo>
                  <a:pt x="1081" y="2163"/>
                </a:lnTo>
                <a:lnTo>
                  <a:pt x="2162" y="2163"/>
                </a:lnTo>
                <a:lnTo>
                  <a:pt x="2162" y="0"/>
                </a:lnTo>
                <a:lnTo>
                  <a:pt x="0" y="0"/>
                </a:lnTo>
                <a:close/>
                <a:moveTo>
                  <a:pt x="1721" y="971"/>
                </a:moveTo>
                <a:lnTo>
                  <a:pt x="1721" y="442"/>
                </a:lnTo>
                <a:lnTo>
                  <a:pt x="1191" y="442"/>
                </a:lnTo>
                <a:lnTo>
                  <a:pt x="1390" y="618"/>
                </a:lnTo>
                <a:lnTo>
                  <a:pt x="905" y="1104"/>
                </a:lnTo>
                <a:lnTo>
                  <a:pt x="1059" y="1258"/>
                </a:lnTo>
                <a:lnTo>
                  <a:pt x="1523" y="773"/>
                </a:lnTo>
                <a:lnTo>
                  <a:pt x="1721" y="971"/>
                </a:lnTo>
                <a:close/>
                <a:moveTo>
                  <a:pt x="0" y="1302"/>
                </a:moveTo>
                <a:lnTo>
                  <a:pt x="861" y="1302"/>
                </a:lnTo>
                <a:lnTo>
                  <a:pt x="861" y="2163"/>
                </a:lnTo>
                <a:lnTo>
                  <a:pt x="0" y="2163"/>
                </a:lnTo>
                <a:lnTo>
                  <a:pt x="0" y="1302"/>
                </a:lnTo>
                <a:close/>
              </a:path>
            </a:pathLst>
          </a:custGeom>
          <a:solidFill>
            <a:srgbClr val="8A002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623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2923347" y="361971"/>
            <a:ext cx="3297306" cy="4991097"/>
            <a:chOff x="2753181" y="381003"/>
            <a:chExt cx="3876223" cy="5867397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10761" y="1676399"/>
              <a:ext cx="2885245" cy="4572001"/>
            </a:xfrm>
            <a:prstGeom prst="rect">
              <a:avLst/>
            </a:prstGeom>
          </p:spPr>
        </p:pic>
        <p:pic>
          <p:nvPicPr>
            <p:cNvPr id="8" name="Picture 5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53181" y="381003"/>
              <a:ext cx="3876223" cy="18965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27479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2782700" y="955622"/>
            <a:ext cx="357860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dirty="0" smtClean="0">
                <a:solidFill>
                  <a:prstClr val="black"/>
                </a:solidFill>
                <a:latin typeface="Helvetica" panose="020B0604020202020204" pitchFamily="34" charset="0"/>
                <a:ea typeface="Graphik Light" charset="0"/>
                <a:cs typeface="Helvetica" panose="020B0604020202020204" pitchFamily="34" charset="0"/>
              </a:rPr>
              <a:t>WE WORK WITH CITIES TO:</a:t>
            </a:r>
            <a:endParaRPr lang="en-US" sz="2000" b="1" dirty="0">
              <a:solidFill>
                <a:srgbClr val="8A0021"/>
              </a:solidFill>
              <a:latin typeface="Helvetica" panose="020B0604020202020204" pitchFamily="34" charset="0"/>
              <a:ea typeface="Graphik Semibold" charset="0"/>
              <a:cs typeface="Helvetica" panose="020B0604020202020204" pitchFamily="34" charset="0"/>
            </a:endParaRPr>
          </a:p>
        </p:txBody>
      </p:sp>
      <p:sp>
        <p:nvSpPr>
          <p:cNvPr id="18" name="Freeform 15"/>
          <p:cNvSpPr>
            <a:spLocks noChangeArrowheads="1"/>
          </p:cNvSpPr>
          <p:nvPr/>
        </p:nvSpPr>
        <p:spPr bwMode="auto">
          <a:xfrm>
            <a:off x="1297148" y="1798802"/>
            <a:ext cx="936766" cy="1084567"/>
          </a:xfrm>
          <a:custGeom>
            <a:avLst/>
            <a:gdLst>
              <a:gd name="T0" fmla="*/ 1588 w 2207"/>
              <a:gd name="T1" fmla="*/ 1015 h 2296"/>
              <a:gd name="T2" fmla="*/ 816 w 2207"/>
              <a:gd name="T3" fmla="*/ 199 h 2296"/>
              <a:gd name="T4" fmla="*/ 684 w 2207"/>
              <a:gd name="T5" fmla="*/ 905 h 2296"/>
              <a:gd name="T6" fmla="*/ 132 w 2207"/>
              <a:gd name="T7" fmla="*/ 1655 h 2296"/>
              <a:gd name="T8" fmla="*/ 904 w 2207"/>
              <a:gd name="T9" fmla="*/ 1103 h 2296"/>
              <a:gd name="T10" fmla="*/ 1588 w 2207"/>
              <a:gd name="T11" fmla="*/ 1015 h 2296"/>
              <a:gd name="T12" fmla="*/ 926 w 2207"/>
              <a:gd name="T13" fmla="*/ 883 h 2296"/>
              <a:gd name="T14" fmla="*/ 1456 w 2207"/>
              <a:gd name="T15" fmla="*/ 353 h 2296"/>
              <a:gd name="T16" fmla="*/ 926 w 2207"/>
              <a:gd name="T17" fmla="*/ 883 h 2296"/>
              <a:gd name="T18" fmla="*/ 1963 w 2207"/>
              <a:gd name="T19" fmla="*/ 1964 h 2296"/>
              <a:gd name="T20" fmla="*/ 2096 w 2207"/>
              <a:gd name="T21" fmla="*/ 1919 h 2296"/>
              <a:gd name="T22" fmla="*/ 2051 w 2207"/>
              <a:gd name="T23" fmla="*/ 66 h 2296"/>
              <a:gd name="T24" fmla="*/ 1919 w 2207"/>
              <a:gd name="T25" fmla="*/ 110 h 2296"/>
              <a:gd name="T26" fmla="*/ 1963 w 2207"/>
              <a:gd name="T27" fmla="*/ 1964 h 2296"/>
              <a:gd name="T28" fmla="*/ 2162 w 2207"/>
              <a:gd name="T29" fmla="*/ 2096 h 2296"/>
              <a:gd name="T30" fmla="*/ 0 w 2207"/>
              <a:gd name="T31" fmla="*/ 2140 h 2296"/>
              <a:gd name="T32" fmla="*/ 43 w 2207"/>
              <a:gd name="T33" fmla="*/ 2295 h 2296"/>
              <a:gd name="T34" fmla="*/ 2206 w 2207"/>
              <a:gd name="T35" fmla="*/ 2250 h 2296"/>
              <a:gd name="T36" fmla="*/ 2162 w 2207"/>
              <a:gd name="T37" fmla="*/ 2096 h 2296"/>
              <a:gd name="T38" fmla="*/ 88 w 2207"/>
              <a:gd name="T39" fmla="*/ 1809 h 2296"/>
              <a:gd name="T40" fmla="*/ 132 w 2207"/>
              <a:gd name="T41" fmla="*/ 1964 h 2296"/>
              <a:gd name="T42" fmla="*/ 264 w 2207"/>
              <a:gd name="T43" fmla="*/ 1919 h 2296"/>
              <a:gd name="T44" fmla="*/ 264 w 2207"/>
              <a:gd name="T45" fmla="*/ 1831 h 2296"/>
              <a:gd name="T46" fmla="*/ 88 w 2207"/>
              <a:gd name="T47" fmla="*/ 1809 h 2296"/>
              <a:gd name="T48" fmla="*/ 551 w 2207"/>
              <a:gd name="T49" fmla="*/ 1699 h 2296"/>
              <a:gd name="T50" fmla="*/ 596 w 2207"/>
              <a:gd name="T51" fmla="*/ 1964 h 2296"/>
              <a:gd name="T52" fmla="*/ 728 w 2207"/>
              <a:gd name="T53" fmla="*/ 1919 h 2296"/>
              <a:gd name="T54" fmla="*/ 706 w 2207"/>
              <a:gd name="T55" fmla="*/ 1501 h 2296"/>
              <a:gd name="T56" fmla="*/ 551 w 2207"/>
              <a:gd name="T57" fmla="*/ 1699 h 2296"/>
              <a:gd name="T58" fmla="*/ 1456 w 2207"/>
              <a:gd name="T59" fmla="*/ 1236 h 2296"/>
              <a:gd name="T60" fmla="*/ 1500 w 2207"/>
              <a:gd name="T61" fmla="*/ 1964 h 2296"/>
              <a:gd name="T62" fmla="*/ 1655 w 2207"/>
              <a:gd name="T63" fmla="*/ 1919 h 2296"/>
              <a:gd name="T64" fmla="*/ 1632 w 2207"/>
              <a:gd name="T65" fmla="*/ 1125 h 2296"/>
              <a:gd name="T66" fmla="*/ 992 w 2207"/>
              <a:gd name="T67" fmla="*/ 1280 h 2296"/>
              <a:gd name="T68" fmla="*/ 992 w 2207"/>
              <a:gd name="T69" fmla="*/ 1919 h 2296"/>
              <a:gd name="T70" fmla="*/ 1147 w 2207"/>
              <a:gd name="T71" fmla="*/ 1964 h 2296"/>
              <a:gd name="T72" fmla="*/ 1191 w 2207"/>
              <a:gd name="T73" fmla="*/ 1302 h 2296"/>
              <a:gd name="T74" fmla="*/ 1014 w 2207"/>
              <a:gd name="T75" fmla="*/ 1280 h 2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207" h="2296">
                <a:moveTo>
                  <a:pt x="1588" y="1015"/>
                </a:moveTo>
                <a:lnTo>
                  <a:pt x="1588" y="1015"/>
                </a:lnTo>
                <a:cubicBezTo>
                  <a:pt x="1809" y="795"/>
                  <a:pt x="1787" y="419"/>
                  <a:pt x="1566" y="221"/>
                </a:cubicBezTo>
                <a:cubicBezTo>
                  <a:pt x="1367" y="0"/>
                  <a:pt x="1037" y="0"/>
                  <a:pt x="816" y="199"/>
                </a:cubicBezTo>
                <a:cubicBezTo>
                  <a:pt x="617" y="375"/>
                  <a:pt x="573" y="662"/>
                  <a:pt x="684" y="883"/>
                </a:cubicBezTo>
                <a:cubicBezTo>
                  <a:pt x="706" y="883"/>
                  <a:pt x="706" y="883"/>
                  <a:pt x="684" y="905"/>
                </a:cubicBezTo>
                <a:lnTo>
                  <a:pt x="154" y="1390"/>
                </a:lnTo>
                <a:cubicBezTo>
                  <a:pt x="66" y="1456"/>
                  <a:pt x="66" y="1589"/>
                  <a:pt x="132" y="1655"/>
                </a:cubicBezTo>
                <a:cubicBezTo>
                  <a:pt x="198" y="1743"/>
                  <a:pt x="331" y="1743"/>
                  <a:pt x="396" y="1655"/>
                </a:cubicBezTo>
                <a:lnTo>
                  <a:pt x="904" y="1103"/>
                </a:lnTo>
                <a:lnTo>
                  <a:pt x="926" y="1103"/>
                </a:lnTo>
                <a:cubicBezTo>
                  <a:pt x="1125" y="1213"/>
                  <a:pt x="1412" y="1191"/>
                  <a:pt x="1588" y="1015"/>
                </a:cubicBezTo>
                <a:close/>
                <a:moveTo>
                  <a:pt x="926" y="883"/>
                </a:moveTo>
                <a:lnTo>
                  <a:pt x="926" y="883"/>
                </a:lnTo>
                <a:cubicBezTo>
                  <a:pt x="772" y="728"/>
                  <a:pt x="772" y="485"/>
                  <a:pt x="926" y="353"/>
                </a:cubicBezTo>
                <a:cubicBezTo>
                  <a:pt x="1059" y="199"/>
                  <a:pt x="1302" y="199"/>
                  <a:pt x="1456" y="353"/>
                </a:cubicBezTo>
                <a:cubicBezTo>
                  <a:pt x="1610" y="485"/>
                  <a:pt x="1610" y="728"/>
                  <a:pt x="1456" y="883"/>
                </a:cubicBezTo>
                <a:cubicBezTo>
                  <a:pt x="1302" y="1037"/>
                  <a:pt x="1059" y="1037"/>
                  <a:pt x="926" y="883"/>
                </a:cubicBezTo>
                <a:close/>
                <a:moveTo>
                  <a:pt x="1963" y="1964"/>
                </a:moveTo>
                <a:lnTo>
                  <a:pt x="1963" y="1964"/>
                </a:lnTo>
                <a:cubicBezTo>
                  <a:pt x="2051" y="1964"/>
                  <a:pt x="2021" y="1964"/>
                  <a:pt x="2051" y="1964"/>
                </a:cubicBezTo>
                <a:cubicBezTo>
                  <a:pt x="2073" y="1964"/>
                  <a:pt x="2096" y="1942"/>
                  <a:pt x="2096" y="1919"/>
                </a:cubicBezTo>
                <a:lnTo>
                  <a:pt x="2096" y="110"/>
                </a:lnTo>
                <a:cubicBezTo>
                  <a:pt x="2096" y="89"/>
                  <a:pt x="2073" y="66"/>
                  <a:pt x="2051" y="66"/>
                </a:cubicBezTo>
                <a:lnTo>
                  <a:pt x="1963" y="66"/>
                </a:lnTo>
                <a:cubicBezTo>
                  <a:pt x="1941" y="66"/>
                  <a:pt x="1919" y="89"/>
                  <a:pt x="1919" y="110"/>
                </a:cubicBezTo>
                <a:lnTo>
                  <a:pt x="1919" y="1919"/>
                </a:lnTo>
                <a:cubicBezTo>
                  <a:pt x="1919" y="1942"/>
                  <a:pt x="1941" y="1964"/>
                  <a:pt x="1963" y="1964"/>
                </a:cubicBezTo>
                <a:close/>
                <a:moveTo>
                  <a:pt x="2162" y="2096"/>
                </a:moveTo>
                <a:lnTo>
                  <a:pt x="2162" y="2096"/>
                </a:lnTo>
                <a:lnTo>
                  <a:pt x="43" y="2096"/>
                </a:lnTo>
                <a:cubicBezTo>
                  <a:pt x="22" y="2096"/>
                  <a:pt x="0" y="2118"/>
                  <a:pt x="0" y="2140"/>
                </a:cubicBezTo>
                <a:lnTo>
                  <a:pt x="0" y="2250"/>
                </a:lnTo>
                <a:cubicBezTo>
                  <a:pt x="0" y="2272"/>
                  <a:pt x="22" y="2295"/>
                  <a:pt x="43" y="2295"/>
                </a:cubicBezTo>
                <a:lnTo>
                  <a:pt x="2162" y="2295"/>
                </a:lnTo>
                <a:cubicBezTo>
                  <a:pt x="2184" y="2295"/>
                  <a:pt x="2206" y="2272"/>
                  <a:pt x="2206" y="2250"/>
                </a:cubicBezTo>
                <a:lnTo>
                  <a:pt x="2206" y="2140"/>
                </a:lnTo>
                <a:cubicBezTo>
                  <a:pt x="2206" y="2118"/>
                  <a:pt x="2184" y="2096"/>
                  <a:pt x="2162" y="2096"/>
                </a:cubicBezTo>
                <a:close/>
                <a:moveTo>
                  <a:pt x="88" y="1809"/>
                </a:moveTo>
                <a:lnTo>
                  <a:pt x="88" y="1809"/>
                </a:lnTo>
                <a:lnTo>
                  <a:pt x="88" y="1919"/>
                </a:lnTo>
                <a:cubicBezTo>
                  <a:pt x="88" y="1942"/>
                  <a:pt x="110" y="1964"/>
                  <a:pt x="132" y="1964"/>
                </a:cubicBezTo>
                <a:lnTo>
                  <a:pt x="220" y="1964"/>
                </a:lnTo>
                <a:cubicBezTo>
                  <a:pt x="243" y="1964"/>
                  <a:pt x="264" y="1942"/>
                  <a:pt x="264" y="1919"/>
                </a:cubicBezTo>
                <a:lnTo>
                  <a:pt x="264" y="1854"/>
                </a:lnTo>
                <a:lnTo>
                  <a:pt x="264" y="1831"/>
                </a:lnTo>
                <a:cubicBezTo>
                  <a:pt x="243" y="1831"/>
                  <a:pt x="154" y="1809"/>
                  <a:pt x="110" y="1787"/>
                </a:cubicBezTo>
                <a:cubicBezTo>
                  <a:pt x="88" y="1787"/>
                  <a:pt x="88" y="1787"/>
                  <a:pt x="88" y="1809"/>
                </a:cubicBezTo>
                <a:close/>
                <a:moveTo>
                  <a:pt x="551" y="1699"/>
                </a:moveTo>
                <a:lnTo>
                  <a:pt x="551" y="1699"/>
                </a:lnTo>
                <a:cubicBezTo>
                  <a:pt x="551" y="1919"/>
                  <a:pt x="551" y="1845"/>
                  <a:pt x="551" y="1919"/>
                </a:cubicBezTo>
                <a:cubicBezTo>
                  <a:pt x="551" y="1942"/>
                  <a:pt x="573" y="1964"/>
                  <a:pt x="596" y="1964"/>
                </a:cubicBezTo>
                <a:lnTo>
                  <a:pt x="684" y="1964"/>
                </a:lnTo>
                <a:cubicBezTo>
                  <a:pt x="706" y="1964"/>
                  <a:pt x="728" y="1942"/>
                  <a:pt x="728" y="1919"/>
                </a:cubicBezTo>
                <a:lnTo>
                  <a:pt x="728" y="1501"/>
                </a:lnTo>
                <a:lnTo>
                  <a:pt x="706" y="1501"/>
                </a:lnTo>
                <a:lnTo>
                  <a:pt x="551" y="1677"/>
                </a:lnTo>
                <a:lnTo>
                  <a:pt x="551" y="1699"/>
                </a:lnTo>
                <a:close/>
                <a:moveTo>
                  <a:pt x="1456" y="1236"/>
                </a:moveTo>
                <a:lnTo>
                  <a:pt x="1456" y="1236"/>
                </a:lnTo>
                <a:lnTo>
                  <a:pt x="1456" y="1919"/>
                </a:lnTo>
                <a:cubicBezTo>
                  <a:pt x="1456" y="1942"/>
                  <a:pt x="1478" y="1964"/>
                  <a:pt x="1500" y="1964"/>
                </a:cubicBezTo>
                <a:lnTo>
                  <a:pt x="1588" y="1964"/>
                </a:lnTo>
                <a:cubicBezTo>
                  <a:pt x="1632" y="1964"/>
                  <a:pt x="1655" y="1942"/>
                  <a:pt x="1655" y="1919"/>
                </a:cubicBezTo>
                <a:lnTo>
                  <a:pt x="1655" y="1125"/>
                </a:lnTo>
                <a:lnTo>
                  <a:pt x="1632" y="1125"/>
                </a:lnTo>
                <a:cubicBezTo>
                  <a:pt x="1588" y="1169"/>
                  <a:pt x="1522" y="1213"/>
                  <a:pt x="1456" y="1236"/>
                </a:cubicBezTo>
                <a:close/>
                <a:moveTo>
                  <a:pt x="992" y="1280"/>
                </a:moveTo>
                <a:lnTo>
                  <a:pt x="992" y="1280"/>
                </a:lnTo>
                <a:lnTo>
                  <a:pt x="992" y="1919"/>
                </a:lnTo>
                <a:cubicBezTo>
                  <a:pt x="992" y="1942"/>
                  <a:pt x="1014" y="1964"/>
                  <a:pt x="1059" y="1964"/>
                </a:cubicBezTo>
                <a:cubicBezTo>
                  <a:pt x="1147" y="1964"/>
                  <a:pt x="1117" y="1964"/>
                  <a:pt x="1147" y="1964"/>
                </a:cubicBezTo>
                <a:cubicBezTo>
                  <a:pt x="1169" y="1964"/>
                  <a:pt x="1191" y="1942"/>
                  <a:pt x="1191" y="1919"/>
                </a:cubicBezTo>
                <a:lnTo>
                  <a:pt x="1191" y="1302"/>
                </a:lnTo>
                <a:lnTo>
                  <a:pt x="1169" y="1302"/>
                </a:lnTo>
                <a:cubicBezTo>
                  <a:pt x="1147" y="1280"/>
                  <a:pt x="1081" y="1280"/>
                  <a:pt x="1014" y="1280"/>
                </a:cubicBezTo>
                <a:lnTo>
                  <a:pt x="992" y="1280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3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>
              <a:solidFill>
                <a:prstClr val="black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52197" y="3076719"/>
            <a:ext cx="26266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prstClr val="white">
                    <a:lumMod val="65000"/>
                  </a:prstClr>
                </a:solidFill>
                <a:latin typeface="Helvetica" panose="020B0604020202020204" pitchFamily="34" charset="0"/>
                <a:ea typeface="Graphik Semibold" charset="0"/>
                <a:cs typeface="Helvetica" panose="020B0604020202020204" pitchFamily="34" charset="0"/>
              </a:rPr>
              <a:t>IDENTIFY </a:t>
            </a:r>
          </a:p>
          <a:p>
            <a:pPr algn="ctr"/>
            <a:r>
              <a:rPr lang="en-US" dirty="0">
                <a:solidFill>
                  <a:prstClr val="white">
                    <a:lumMod val="65000"/>
                  </a:prstClr>
                </a:solidFill>
                <a:latin typeface="Helvetica" panose="020B0604020202020204" pitchFamily="34" charset="0"/>
                <a:ea typeface="Graphik Light" charset="0"/>
                <a:cs typeface="Helvetica" panose="020B0604020202020204" pitchFamily="34" charset="0"/>
              </a:rPr>
              <a:t>promising solutions to urban challenges</a:t>
            </a:r>
          </a:p>
        </p:txBody>
      </p:sp>
      <p:sp>
        <p:nvSpPr>
          <p:cNvPr id="17" name="Freeform 13"/>
          <p:cNvSpPr>
            <a:spLocks noChangeArrowheads="1"/>
          </p:cNvSpPr>
          <p:nvPr/>
        </p:nvSpPr>
        <p:spPr bwMode="auto">
          <a:xfrm>
            <a:off x="4174497" y="1749350"/>
            <a:ext cx="795008" cy="1183462"/>
          </a:xfrm>
          <a:custGeom>
            <a:avLst/>
            <a:gdLst>
              <a:gd name="T0" fmla="*/ 397 w 1832"/>
              <a:gd name="T1" fmla="*/ 904 h 2450"/>
              <a:gd name="T2" fmla="*/ 485 w 1832"/>
              <a:gd name="T3" fmla="*/ 1125 h 2450"/>
              <a:gd name="T4" fmla="*/ 705 w 1832"/>
              <a:gd name="T5" fmla="*/ 816 h 2450"/>
              <a:gd name="T6" fmla="*/ 485 w 1832"/>
              <a:gd name="T7" fmla="*/ 1478 h 2450"/>
              <a:gd name="T8" fmla="*/ 332 w 1832"/>
              <a:gd name="T9" fmla="*/ 1456 h 2450"/>
              <a:gd name="T10" fmla="*/ 772 w 1832"/>
              <a:gd name="T11" fmla="*/ 1367 h 2450"/>
              <a:gd name="T12" fmla="*/ 485 w 1832"/>
              <a:gd name="T13" fmla="*/ 1478 h 2450"/>
              <a:gd name="T14" fmla="*/ 397 w 1832"/>
              <a:gd name="T15" fmla="*/ 1875 h 2450"/>
              <a:gd name="T16" fmla="*/ 485 w 1832"/>
              <a:gd name="T17" fmla="*/ 2096 h 2450"/>
              <a:gd name="T18" fmla="*/ 705 w 1832"/>
              <a:gd name="T19" fmla="*/ 1787 h 2450"/>
              <a:gd name="T20" fmla="*/ 1698 w 1832"/>
              <a:gd name="T21" fmla="*/ 331 h 2450"/>
              <a:gd name="T22" fmla="*/ 1412 w 1832"/>
              <a:gd name="T23" fmla="*/ 331 h 2450"/>
              <a:gd name="T24" fmla="*/ 1367 w 1832"/>
              <a:gd name="T25" fmla="*/ 220 h 2450"/>
              <a:gd name="T26" fmla="*/ 926 w 1832"/>
              <a:gd name="T27" fmla="*/ 0 h 2450"/>
              <a:gd name="T28" fmla="*/ 464 w 1832"/>
              <a:gd name="T29" fmla="*/ 220 h 2450"/>
              <a:gd name="T30" fmla="*/ 420 w 1832"/>
              <a:gd name="T31" fmla="*/ 331 h 2450"/>
              <a:gd name="T32" fmla="*/ 0 w 1832"/>
              <a:gd name="T33" fmla="*/ 463 h 2450"/>
              <a:gd name="T34" fmla="*/ 132 w 1832"/>
              <a:gd name="T35" fmla="*/ 2449 h 2450"/>
              <a:gd name="T36" fmla="*/ 1831 w 1832"/>
              <a:gd name="T37" fmla="*/ 2316 h 2450"/>
              <a:gd name="T38" fmla="*/ 1698 w 1832"/>
              <a:gd name="T39" fmla="*/ 331 h 2450"/>
              <a:gd name="T40" fmla="*/ 926 w 1832"/>
              <a:gd name="T41" fmla="*/ 110 h 2450"/>
              <a:gd name="T42" fmla="*/ 926 w 1832"/>
              <a:gd name="T43" fmla="*/ 419 h 2450"/>
              <a:gd name="T44" fmla="*/ 926 w 1832"/>
              <a:gd name="T45" fmla="*/ 110 h 2450"/>
              <a:gd name="T46" fmla="*/ 420 w 1832"/>
              <a:gd name="T47" fmla="*/ 485 h 2450"/>
              <a:gd name="T48" fmla="*/ 464 w 1832"/>
              <a:gd name="T49" fmla="*/ 639 h 2450"/>
              <a:gd name="T50" fmla="*/ 1412 w 1832"/>
              <a:gd name="T51" fmla="*/ 573 h 2450"/>
              <a:gd name="T52" fmla="*/ 1588 w 1832"/>
              <a:gd name="T53" fmla="*/ 485 h 2450"/>
              <a:gd name="T54" fmla="*/ 1654 w 1832"/>
              <a:gd name="T55" fmla="*/ 2228 h 2450"/>
              <a:gd name="T56" fmla="*/ 243 w 1832"/>
              <a:gd name="T57" fmla="*/ 2294 h 2450"/>
              <a:gd name="T58" fmla="*/ 177 w 1832"/>
              <a:gd name="T59" fmla="*/ 551 h 2450"/>
              <a:gd name="T60" fmla="*/ 420 w 1832"/>
              <a:gd name="T61" fmla="*/ 485 h 2450"/>
              <a:gd name="T62" fmla="*/ 926 w 1832"/>
              <a:gd name="T63" fmla="*/ 992 h 2450"/>
              <a:gd name="T64" fmla="*/ 1500 w 1832"/>
              <a:gd name="T65" fmla="*/ 882 h 2450"/>
              <a:gd name="T66" fmla="*/ 1500 w 1832"/>
              <a:gd name="T67" fmla="*/ 1478 h 2450"/>
              <a:gd name="T68" fmla="*/ 926 w 1832"/>
              <a:gd name="T69" fmla="*/ 1367 h 2450"/>
              <a:gd name="T70" fmla="*/ 1500 w 1832"/>
              <a:gd name="T71" fmla="*/ 1478 h 2450"/>
              <a:gd name="T72" fmla="*/ 926 w 1832"/>
              <a:gd name="T73" fmla="*/ 1963 h 2450"/>
              <a:gd name="T74" fmla="*/ 1500 w 1832"/>
              <a:gd name="T75" fmla="*/ 1853 h 24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832" h="2450">
                <a:moveTo>
                  <a:pt x="485" y="1014"/>
                </a:moveTo>
                <a:lnTo>
                  <a:pt x="397" y="904"/>
                </a:lnTo>
                <a:lnTo>
                  <a:pt x="332" y="970"/>
                </a:lnTo>
                <a:lnTo>
                  <a:pt x="485" y="1125"/>
                </a:lnTo>
                <a:lnTo>
                  <a:pt x="772" y="882"/>
                </a:lnTo>
                <a:lnTo>
                  <a:pt x="705" y="816"/>
                </a:lnTo>
                <a:lnTo>
                  <a:pt x="485" y="1014"/>
                </a:lnTo>
                <a:close/>
                <a:moveTo>
                  <a:pt x="485" y="1478"/>
                </a:moveTo>
                <a:lnTo>
                  <a:pt x="397" y="1390"/>
                </a:lnTo>
                <a:lnTo>
                  <a:pt x="332" y="1456"/>
                </a:lnTo>
                <a:lnTo>
                  <a:pt x="485" y="1610"/>
                </a:lnTo>
                <a:lnTo>
                  <a:pt x="772" y="1367"/>
                </a:lnTo>
                <a:lnTo>
                  <a:pt x="705" y="1302"/>
                </a:lnTo>
                <a:lnTo>
                  <a:pt x="485" y="1478"/>
                </a:lnTo>
                <a:close/>
                <a:moveTo>
                  <a:pt x="485" y="1963"/>
                </a:moveTo>
                <a:lnTo>
                  <a:pt x="397" y="1875"/>
                </a:lnTo>
                <a:lnTo>
                  <a:pt x="332" y="1941"/>
                </a:lnTo>
                <a:lnTo>
                  <a:pt x="485" y="2096"/>
                </a:lnTo>
                <a:lnTo>
                  <a:pt x="772" y="1853"/>
                </a:lnTo>
                <a:lnTo>
                  <a:pt x="705" y="1787"/>
                </a:lnTo>
                <a:lnTo>
                  <a:pt x="485" y="1963"/>
                </a:lnTo>
                <a:close/>
                <a:moveTo>
                  <a:pt x="1698" y="331"/>
                </a:moveTo>
                <a:lnTo>
                  <a:pt x="1698" y="331"/>
                </a:lnTo>
                <a:lnTo>
                  <a:pt x="1412" y="331"/>
                </a:lnTo>
                <a:lnTo>
                  <a:pt x="1412" y="264"/>
                </a:lnTo>
                <a:cubicBezTo>
                  <a:pt x="1412" y="243"/>
                  <a:pt x="1390" y="220"/>
                  <a:pt x="1367" y="220"/>
                </a:cubicBezTo>
                <a:lnTo>
                  <a:pt x="1169" y="220"/>
                </a:lnTo>
                <a:cubicBezTo>
                  <a:pt x="1147" y="66"/>
                  <a:pt x="1014" y="0"/>
                  <a:pt x="926" y="0"/>
                </a:cubicBezTo>
                <a:cubicBezTo>
                  <a:pt x="816" y="0"/>
                  <a:pt x="684" y="66"/>
                  <a:pt x="661" y="220"/>
                </a:cubicBezTo>
                <a:lnTo>
                  <a:pt x="464" y="220"/>
                </a:lnTo>
                <a:cubicBezTo>
                  <a:pt x="442" y="220"/>
                  <a:pt x="420" y="243"/>
                  <a:pt x="420" y="264"/>
                </a:cubicBezTo>
                <a:lnTo>
                  <a:pt x="420" y="331"/>
                </a:lnTo>
                <a:lnTo>
                  <a:pt x="132" y="331"/>
                </a:lnTo>
                <a:cubicBezTo>
                  <a:pt x="67" y="331"/>
                  <a:pt x="0" y="396"/>
                  <a:pt x="0" y="463"/>
                </a:cubicBezTo>
                <a:lnTo>
                  <a:pt x="0" y="2316"/>
                </a:lnTo>
                <a:cubicBezTo>
                  <a:pt x="0" y="2383"/>
                  <a:pt x="67" y="2449"/>
                  <a:pt x="132" y="2449"/>
                </a:cubicBezTo>
                <a:lnTo>
                  <a:pt x="1698" y="2449"/>
                </a:lnTo>
                <a:cubicBezTo>
                  <a:pt x="1765" y="2449"/>
                  <a:pt x="1831" y="2383"/>
                  <a:pt x="1831" y="2316"/>
                </a:cubicBezTo>
                <a:lnTo>
                  <a:pt x="1831" y="463"/>
                </a:lnTo>
                <a:cubicBezTo>
                  <a:pt x="1831" y="396"/>
                  <a:pt x="1765" y="331"/>
                  <a:pt x="1698" y="331"/>
                </a:cubicBezTo>
                <a:close/>
                <a:moveTo>
                  <a:pt x="926" y="110"/>
                </a:moveTo>
                <a:lnTo>
                  <a:pt x="926" y="110"/>
                </a:lnTo>
                <a:cubicBezTo>
                  <a:pt x="992" y="110"/>
                  <a:pt x="1058" y="176"/>
                  <a:pt x="1058" y="264"/>
                </a:cubicBezTo>
                <a:cubicBezTo>
                  <a:pt x="1058" y="353"/>
                  <a:pt x="992" y="419"/>
                  <a:pt x="926" y="419"/>
                </a:cubicBezTo>
                <a:cubicBezTo>
                  <a:pt x="837" y="419"/>
                  <a:pt x="772" y="353"/>
                  <a:pt x="772" y="264"/>
                </a:cubicBezTo>
                <a:cubicBezTo>
                  <a:pt x="772" y="176"/>
                  <a:pt x="837" y="110"/>
                  <a:pt x="926" y="110"/>
                </a:cubicBezTo>
                <a:close/>
                <a:moveTo>
                  <a:pt x="420" y="485"/>
                </a:moveTo>
                <a:lnTo>
                  <a:pt x="420" y="485"/>
                </a:lnTo>
                <a:cubicBezTo>
                  <a:pt x="420" y="573"/>
                  <a:pt x="420" y="543"/>
                  <a:pt x="420" y="573"/>
                </a:cubicBezTo>
                <a:cubicBezTo>
                  <a:pt x="420" y="617"/>
                  <a:pt x="442" y="639"/>
                  <a:pt x="464" y="639"/>
                </a:cubicBezTo>
                <a:lnTo>
                  <a:pt x="1367" y="639"/>
                </a:lnTo>
                <a:cubicBezTo>
                  <a:pt x="1390" y="639"/>
                  <a:pt x="1412" y="617"/>
                  <a:pt x="1412" y="573"/>
                </a:cubicBezTo>
                <a:cubicBezTo>
                  <a:pt x="1412" y="485"/>
                  <a:pt x="1412" y="514"/>
                  <a:pt x="1412" y="485"/>
                </a:cubicBezTo>
                <a:lnTo>
                  <a:pt x="1588" y="485"/>
                </a:lnTo>
                <a:cubicBezTo>
                  <a:pt x="1632" y="485"/>
                  <a:pt x="1654" y="529"/>
                  <a:pt x="1654" y="551"/>
                </a:cubicBezTo>
                <a:lnTo>
                  <a:pt x="1654" y="2228"/>
                </a:lnTo>
                <a:cubicBezTo>
                  <a:pt x="1654" y="2272"/>
                  <a:pt x="1632" y="2294"/>
                  <a:pt x="1588" y="2294"/>
                </a:cubicBezTo>
                <a:lnTo>
                  <a:pt x="243" y="2294"/>
                </a:lnTo>
                <a:cubicBezTo>
                  <a:pt x="199" y="2294"/>
                  <a:pt x="177" y="2272"/>
                  <a:pt x="177" y="2228"/>
                </a:cubicBezTo>
                <a:lnTo>
                  <a:pt x="177" y="551"/>
                </a:lnTo>
                <a:cubicBezTo>
                  <a:pt x="177" y="529"/>
                  <a:pt x="199" y="485"/>
                  <a:pt x="243" y="485"/>
                </a:cubicBezTo>
                <a:lnTo>
                  <a:pt x="420" y="485"/>
                </a:lnTo>
                <a:close/>
                <a:moveTo>
                  <a:pt x="1500" y="992"/>
                </a:moveTo>
                <a:lnTo>
                  <a:pt x="926" y="992"/>
                </a:lnTo>
                <a:lnTo>
                  <a:pt x="926" y="882"/>
                </a:lnTo>
                <a:lnTo>
                  <a:pt x="1500" y="882"/>
                </a:lnTo>
                <a:lnTo>
                  <a:pt x="1500" y="992"/>
                </a:lnTo>
                <a:close/>
                <a:moveTo>
                  <a:pt x="1500" y="1478"/>
                </a:moveTo>
                <a:lnTo>
                  <a:pt x="926" y="1478"/>
                </a:lnTo>
                <a:lnTo>
                  <a:pt x="926" y="1367"/>
                </a:lnTo>
                <a:lnTo>
                  <a:pt x="1500" y="1367"/>
                </a:lnTo>
                <a:lnTo>
                  <a:pt x="1500" y="1478"/>
                </a:lnTo>
                <a:close/>
                <a:moveTo>
                  <a:pt x="1500" y="1963"/>
                </a:moveTo>
                <a:lnTo>
                  <a:pt x="926" y="1963"/>
                </a:lnTo>
                <a:lnTo>
                  <a:pt x="926" y="1853"/>
                </a:lnTo>
                <a:lnTo>
                  <a:pt x="1500" y="1853"/>
                </a:lnTo>
                <a:lnTo>
                  <a:pt x="1500" y="1963"/>
                </a:lnTo>
                <a:close/>
              </a:path>
            </a:pathLst>
          </a:custGeom>
          <a:solidFill>
            <a:srgbClr val="8A002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prstClr val="black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258666" y="3076745"/>
            <a:ext cx="26266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solidFill>
                  <a:srgbClr val="8A0021"/>
                </a:solidFill>
                <a:latin typeface="Helvetica" panose="020B0604020202020204" pitchFamily="34" charset="0"/>
                <a:ea typeface="Graphik Semibold" charset="0"/>
                <a:cs typeface="Helvetica" panose="020B0604020202020204" pitchFamily="34" charset="0"/>
              </a:rPr>
              <a:t>TEST</a:t>
            </a:r>
          </a:p>
          <a:p>
            <a:pPr algn="ctr"/>
            <a:r>
              <a:rPr lang="en-US" dirty="0">
                <a:solidFill>
                  <a:prstClr val="black">
                    <a:lumMod val="95000"/>
                    <a:lumOff val="5000"/>
                  </a:prstClr>
                </a:solidFill>
                <a:latin typeface="Helvetica" panose="020B0604020202020204" pitchFamily="34" charset="0"/>
                <a:ea typeface="Graphik Light" charset="0"/>
                <a:cs typeface="Helvetica" panose="020B0604020202020204" pitchFamily="34" charset="0"/>
              </a:rPr>
              <a:t>the most promising urban policies and programs</a:t>
            </a:r>
            <a:endParaRPr lang="en-US" b="1" dirty="0">
              <a:solidFill>
                <a:prstClr val="black">
                  <a:lumMod val="95000"/>
                  <a:lumOff val="5000"/>
                </a:prstClr>
              </a:solidFill>
              <a:latin typeface="Helvetica" panose="020B0604020202020204" pitchFamily="34" charset="0"/>
              <a:ea typeface="Graphik Semibold" charset="0"/>
              <a:cs typeface="Helvetica" panose="020B0604020202020204" pitchFamily="34" charset="0"/>
            </a:endParaRPr>
          </a:p>
        </p:txBody>
      </p:sp>
      <p:sp>
        <p:nvSpPr>
          <p:cNvPr id="19" name="Freeform 17"/>
          <p:cNvSpPr>
            <a:spLocks noChangeArrowheads="1"/>
          </p:cNvSpPr>
          <p:nvPr/>
        </p:nvSpPr>
        <p:spPr bwMode="auto">
          <a:xfrm>
            <a:off x="6991274" y="1859200"/>
            <a:ext cx="867388" cy="963764"/>
          </a:xfrm>
          <a:custGeom>
            <a:avLst/>
            <a:gdLst>
              <a:gd name="T0" fmla="*/ 0 w 2163"/>
              <a:gd name="T1" fmla="*/ 0 h 2164"/>
              <a:gd name="T2" fmla="*/ 0 w 2163"/>
              <a:gd name="T3" fmla="*/ 1081 h 2164"/>
              <a:gd name="T4" fmla="*/ 221 w 2163"/>
              <a:gd name="T5" fmla="*/ 1081 h 2164"/>
              <a:gd name="T6" fmla="*/ 221 w 2163"/>
              <a:gd name="T7" fmla="*/ 221 h 2164"/>
              <a:gd name="T8" fmla="*/ 1942 w 2163"/>
              <a:gd name="T9" fmla="*/ 221 h 2164"/>
              <a:gd name="T10" fmla="*/ 1942 w 2163"/>
              <a:gd name="T11" fmla="*/ 1942 h 2164"/>
              <a:gd name="T12" fmla="*/ 1081 w 2163"/>
              <a:gd name="T13" fmla="*/ 1942 h 2164"/>
              <a:gd name="T14" fmla="*/ 1081 w 2163"/>
              <a:gd name="T15" fmla="*/ 2163 h 2164"/>
              <a:gd name="T16" fmla="*/ 2162 w 2163"/>
              <a:gd name="T17" fmla="*/ 2163 h 2164"/>
              <a:gd name="T18" fmla="*/ 2162 w 2163"/>
              <a:gd name="T19" fmla="*/ 0 h 2164"/>
              <a:gd name="T20" fmla="*/ 0 w 2163"/>
              <a:gd name="T21" fmla="*/ 0 h 2164"/>
              <a:gd name="T22" fmla="*/ 1721 w 2163"/>
              <a:gd name="T23" fmla="*/ 971 h 2164"/>
              <a:gd name="T24" fmla="*/ 1721 w 2163"/>
              <a:gd name="T25" fmla="*/ 442 h 2164"/>
              <a:gd name="T26" fmla="*/ 1191 w 2163"/>
              <a:gd name="T27" fmla="*/ 442 h 2164"/>
              <a:gd name="T28" fmla="*/ 1390 w 2163"/>
              <a:gd name="T29" fmla="*/ 618 h 2164"/>
              <a:gd name="T30" fmla="*/ 905 w 2163"/>
              <a:gd name="T31" fmla="*/ 1104 h 2164"/>
              <a:gd name="T32" fmla="*/ 1059 w 2163"/>
              <a:gd name="T33" fmla="*/ 1258 h 2164"/>
              <a:gd name="T34" fmla="*/ 1523 w 2163"/>
              <a:gd name="T35" fmla="*/ 773 h 2164"/>
              <a:gd name="T36" fmla="*/ 1721 w 2163"/>
              <a:gd name="T37" fmla="*/ 971 h 2164"/>
              <a:gd name="T38" fmla="*/ 0 w 2163"/>
              <a:gd name="T39" fmla="*/ 1302 h 2164"/>
              <a:gd name="T40" fmla="*/ 861 w 2163"/>
              <a:gd name="T41" fmla="*/ 1302 h 2164"/>
              <a:gd name="T42" fmla="*/ 861 w 2163"/>
              <a:gd name="T43" fmla="*/ 2163 h 2164"/>
              <a:gd name="T44" fmla="*/ 0 w 2163"/>
              <a:gd name="T45" fmla="*/ 2163 h 2164"/>
              <a:gd name="T46" fmla="*/ 0 w 2163"/>
              <a:gd name="T47" fmla="*/ 1302 h 2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163" h="2164">
                <a:moveTo>
                  <a:pt x="0" y="0"/>
                </a:moveTo>
                <a:lnTo>
                  <a:pt x="0" y="1081"/>
                </a:lnTo>
                <a:lnTo>
                  <a:pt x="221" y="1081"/>
                </a:lnTo>
                <a:lnTo>
                  <a:pt x="221" y="221"/>
                </a:lnTo>
                <a:lnTo>
                  <a:pt x="1942" y="221"/>
                </a:lnTo>
                <a:lnTo>
                  <a:pt x="1942" y="1942"/>
                </a:lnTo>
                <a:lnTo>
                  <a:pt x="1081" y="1942"/>
                </a:lnTo>
                <a:lnTo>
                  <a:pt x="1081" y="2163"/>
                </a:lnTo>
                <a:lnTo>
                  <a:pt x="2162" y="2163"/>
                </a:lnTo>
                <a:lnTo>
                  <a:pt x="2162" y="0"/>
                </a:lnTo>
                <a:lnTo>
                  <a:pt x="0" y="0"/>
                </a:lnTo>
                <a:close/>
                <a:moveTo>
                  <a:pt x="1721" y="971"/>
                </a:moveTo>
                <a:lnTo>
                  <a:pt x="1721" y="442"/>
                </a:lnTo>
                <a:lnTo>
                  <a:pt x="1191" y="442"/>
                </a:lnTo>
                <a:lnTo>
                  <a:pt x="1390" y="618"/>
                </a:lnTo>
                <a:lnTo>
                  <a:pt x="905" y="1104"/>
                </a:lnTo>
                <a:lnTo>
                  <a:pt x="1059" y="1258"/>
                </a:lnTo>
                <a:lnTo>
                  <a:pt x="1523" y="773"/>
                </a:lnTo>
                <a:lnTo>
                  <a:pt x="1721" y="971"/>
                </a:lnTo>
                <a:close/>
                <a:moveTo>
                  <a:pt x="0" y="1302"/>
                </a:moveTo>
                <a:lnTo>
                  <a:pt x="861" y="1302"/>
                </a:lnTo>
                <a:lnTo>
                  <a:pt x="861" y="2163"/>
                </a:lnTo>
                <a:lnTo>
                  <a:pt x="0" y="2163"/>
                </a:lnTo>
                <a:lnTo>
                  <a:pt x="0" y="1302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3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>
              <a:solidFill>
                <a:prstClr val="black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111634" y="3076745"/>
            <a:ext cx="26266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solidFill>
                  <a:prstClr val="white">
                    <a:lumMod val="65000"/>
                  </a:prstClr>
                </a:solidFill>
                <a:latin typeface="Helvetica" panose="020B0604020202020204" pitchFamily="34" charset="0"/>
                <a:ea typeface="Graphik Semibold" charset="0"/>
                <a:cs typeface="Helvetica" panose="020B0604020202020204" pitchFamily="34" charset="0"/>
              </a:rPr>
              <a:t>SCALE UP</a:t>
            </a:r>
          </a:p>
          <a:p>
            <a:pPr algn="ctr"/>
            <a:r>
              <a:rPr lang="en-US" dirty="0">
                <a:solidFill>
                  <a:prstClr val="white">
                    <a:lumMod val="65000"/>
                  </a:prstClr>
                </a:solidFill>
                <a:latin typeface="Helvetica" panose="020B0604020202020204" pitchFamily="34" charset="0"/>
                <a:ea typeface="Graphik Light" charset="0"/>
                <a:cs typeface="Helvetica" panose="020B0604020202020204" pitchFamily="34" charset="0"/>
              </a:rPr>
              <a:t>the most effective and cost-efficient policies and programs</a:t>
            </a:r>
            <a:endParaRPr lang="en-US" b="1" dirty="0">
              <a:solidFill>
                <a:prstClr val="white">
                  <a:lumMod val="65000"/>
                </a:prstClr>
              </a:solidFill>
              <a:latin typeface="Helvetica" panose="020B0604020202020204" pitchFamily="34" charset="0"/>
              <a:ea typeface="Graphik Semibold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53799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855269" y="436496"/>
            <a:ext cx="7433487" cy="8679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800" smtClean="0">
                <a:solidFill>
                  <a:srgbClr val="7C0622"/>
                </a:solidFill>
                <a:latin typeface="Helvetica" panose="020B0604020202020204" pitchFamily="34" charset="0"/>
                <a:ea typeface="Graphik Light" charset="0"/>
                <a:cs typeface="Helvetica" panose="020B0604020202020204" pitchFamily="34" charset="0"/>
              </a:rPr>
              <a:t>THE </a:t>
            </a:r>
            <a:r>
              <a:rPr lang="en-US" sz="2800" b="1" smtClean="0">
                <a:solidFill>
                  <a:srgbClr val="7C0622"/>
                </a:solidFill>
                <a:latin typeface="Helvetica" panose="020B0604020202020204" pitchFamily="34" charset="0"/>
                <a:ea typeface="Graphik" charset="0"/>
                <a:cs typeface="Helvetica" panose="020B0604020202020204" pitchFamily="34" charset="0"/>
              </a:rPr>
              <a:t>IMPORTANCE </a:t>
            </a:r>
            <a:r>
              <a:rPr lang="en-US" sz="2800" smtClean="0">
                <a:solidFill>
                  <a:srgbClr val="7C0622"/>
                </a:solidFill>
                <a:latin typeface="Helvetica" panose="020B0604020202020204" pitchFamily="34" charset="0"/>
                <a:ea typeface="Graphik Light" charset="0"/>
                <a:cs typeface="Helvetica" panose="020B0604020202020204" pitchFamily="34" charset="0"/>
              </a:rPr>
              <a:t>OF RESEARCH: MEASURING OUTCOMES</a:t>
            </a:r>
            <a:endParaRPr lang="en-US" sz="2800" b="1" dirty="0">
              <a:solidFill>
                <a:srgbClr val="7C0622"/>
              </a:solidFill>
              <a:latin typeface="Helvetica" panose="020B0604020202020204" pitchFamily="34" charset="0"/>
              <a:ea typeface="Graphik" charset="0"/>
              <a:cs typeface="Helvetica" panose="020B0604020202020204" pitchFamily="34" charset="0"/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1613527" y="2036622"/>
            <a:ext cx="995738" cy="1132147"/>
            <a:chOff x="1003968" y="2186548"/>
            <a:chExt cx="995738" cy="1018932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>
              <a:alphaModFix amt="30000"/>
            </a:blip>
            <a:stretch>
              <a:fillRect/>
            </a:stretch>
          </p:blipFill>
          <p:spPr>
            <a:xfrm>
              <a:off x="1003968" y="2707640"/>
              <a:ext cx="185095" cy="49784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>
              <a:alphaModFix amt="30000"/>
            </a:blip>
            <a:stretch>
              <a:fillRect/>
            </a:stretch>
          </p:blipFill>
          <p:spPr>
            <a:xfrm>
              <a:off x="1006871" y="2186548"/>
              <a:ext cx="185095" cy="497840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>
              <a:alphaModFix amt="30000"/>
            </a:blip>
            <a:stretch>
              <a:fillRect/>
            </a:stretch>
          </p:blipFill>
          <p:spPr>
            <a:xfrm>
              <a:off x="1207167" y="2186548"/>
              <a:ext cx="185095" cy="497840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>
              <a:alphaModFix amt="30000"/>
            </a:blip>
            <a:stretch>
              <a:fillRect/>
            </a:stretch>
          </p:blipFill>
          <p:spPr>
            <a:xfrm>
              <a:off x="1207168" y="2707640"/>
              <a:ext cx="185095" cy="497840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>
              <a:alphaModFix amt="30000"/>
            </a:blip>
            <a:stretch>
              <a:fillRect/>
            </a:stretch>
          </p:blipFill>
          <p:spPr>
            <a:xfrm>
              <a:off x="1410368" y="2707640"/>
              <a:ext cx="185095" cy="497840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>
              <a:alphaModFix amt="30000"/>
            </a:blip>
            <a:stretch>
              <a:fillRect/>
            </a:stretch>
          </p:blipFill>
          <p:spPr>
            <a:xfrm>
              <a:off x="1613568" y="2707640"/>
              <a:ext cx="185095" cy="497840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>
              <a:alphaModFix amt="30000"/>
            </a:blip>
            <a:stretch>
              <a:fillRect/>
            </a:stretch>
          </p:blipFill>
          <p:spPr>
            <a:xfrm>
              <a:off x="1814611" y="2707640"/>
              <a:ext cx="185095" cy="497840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>
              <a:alphaModFix amt="30000"/>
            </a:blip>
            <a:stretch>
              <a:fillRect/>
            </a:stretch>
          </p:blipFill>
          <p:spPr>
            <a:xfrm>
              <a:off x="1410368" y="2186548"/>
              <a:ext cx="185095" cy="497840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3">
              <a:alphaModFix amt="30000"/>
            </a:blip>
            <a:stretch>
              <a:fillRect/>
            </a:stretch>
          </p:blipFill>
          <p:spPr>
            <a:xfrm>
              <a:off x="1613568" y="2186548"/>
              <a:ext cx="185095" cy="497840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3">
              <a:alphaModFix amt="30000"/>
            </a:blip>
            <a:stretch>
              <a:fillRect/>
            </a:stretch>
          </p:blipFill>
          <p:spPr>
            <a:xfrm>
              <a:off x="1814611" y="2186548"/>
              <a:ext cx="185095" cy="497840"/>
            </a:xfrm>
            <a:prstGeom prst="rect">
              <a:avLst/>
            </a:prstGeom>
          </p:spPr>
        </p:pic>
      </p:grpSp>
      <p:grpSp>
        <p:nvGrpSpPr>
          <p:cNvPr id="72" name="Group 71"/>
          <p:cNvGrpSpPr/>
          <p:nvPr/>
        </p:nvGrpSpPr>
        <p:grpSpPr>
          <a:xfrm>
            <a:off x="2709654" y="1993123"/>
            <a:ext cx="1285726" cy="1201319"/>
            <a:chOff x="2709654" y="1793749"/>
            <a:chExt cx="1285726" cy="1081187"/>
          </a:xfrm>
        </p:grpSpPr>
        <p:sp>
          <p:nvSpPr>
            <p:cNvPr id="47" name="Left Brace 46"/>
            <p:cNvSpPr/>
            <p:nvPr/>
          </p:nvSpPr>
          <p:spPr>
            <a:xfrm>
              <a:off x="3568264" y="1832960"/>
              <a:ext cx="345739" cy="1004616"/>
            </a:xfrm>
            <a:prstGeom prst="leftBrace">
              <a:avLst>
                <a:gd name="adj1" fmla="val 55208"/>
                <a:gd name="adj2" fmla="val 50000"/>
              </a:avLst>
            </a:prstGeom>
            <a:ln w="15875" cap="rnd">
              <a:solidFill>
                <a:srgbClr val="7C0622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cxnSp>
          <p:nvCxnSpPr>
            <p:cNvPr id="49" name="Straight Connector 48"/>
            <p:cNvCxnSpPr/>
            <p:nvPr/>
          </p:nvCxnSpPr>
          <p:spPr>
            <a:xfrm>
              <a:off x="2709654" y="2335267"/>
              <a:ext cx="849086" cy="0"/>
            </a:xfrm>
            <a:prstGeom prst="line">
              <a:avLst/>
            </a:prstGeom>
            <a:ln w="15875" cap="rnd">
              <a:solidFill>
                <a:srgbClr val="7C0622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riangle 49"/>
            <p:cNvSpPr/>
            <p:nvPr/>
          </p:nvSpPr>
          <p:spPr>
            <a:xfrm rot="5400000">
              <a:off x="3906957" y="1788465"/>
              <a:ext cx="83139" cy="93707"/>
            </a:xfrm>
            <a:prstGeom prst="triangle">
              <a:avLst/>
            </a:prstGeom>
            <a:solidFill>
              <a:srgbClr val="7C062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1" name="Triangle 50"/>
            <p:cNvSpPr/>
            <p:nvPr/>
          </p:nvSpPr>
          <p:spPr>
            <a:xfrm rot="5400000">
              <a:off x="3906957" y="2786513"/>
              <a:ext cx="83139" cy="93707"/>
            </a:xfrm>
            <a:prstGeom prst="triangle">
              <a:avLst/>
            </a:prstGeom>
            <a:solidFill>
              <a:srgbClr val="7C062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77" name="Group 76"/>
          <p:cNvGrpSpPr/>
          <p:nvPr/>
        </p:nvGrpSpPr>
        <p:grpSpPr>
          <a:xfrm>
            <a:off x="5246911" y="1993123"/>
            <a:ext cx="1183395" cy="1201319"/>
            <a:chOff x="5246908" y="1793749"/>
            <a:chExt cx="1183395" cy="1081187"/>
          </a:xfrm>
        </p:grpSpPr>
        <p:grpSp>
          <p:nvGrpSpPr>
            <p:cNvPr id="73" name="Group 72"/>
            <p:cNvGrpSpPr/>
            <p:nvPr/>
          </p:nvGrpSpPr>
          <p:grpSpPr>
            <a:xfrm>
              <a:off x="5246908" y="1793749"/>
              <a:ext cx="1183395" cy="83139"/>
              <a:chOff x="5246908" y="1793749"/>
              <a:chExt cx="1183395" cy="83139"/>
            </a:xfrm>
          </p:grpSpPr>
          <p:cxnSp>
            <p:nvCxnSpPr>
              <p:cNvPr id="52" name="Straight Connector 51"/>
              <p:cNvCxnSpPr>
                <a:endCxn id="54" idx="3"/>
              </p:cNvCxnSpPr>
              <p:nvPr/>
            </p:nvCxnSpPr>
            <p:spPr>
              <a:xfrm>
                <a:off x="5246908" y="1835318"/>
                <a:ext cx="1089688" cy="1"/>
              </a:xfrm>
              <a:prstGeom prst="line">
                <a:avLst/>
              </a:prstGeom>
              <a:ln w="15875" cap="rnd">
                <a:solidFill>
                  <a:srgbClr val="7C0622"/>
                </a:solidFill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Triangle 53"/>
              <p:cNvSpPr/>
              <p:nvPr/>
            </p:nvSpPr>
            <p:spPr>
              <a:xfrm rot="5400000">
                <a:off x="6341880" y="1788465"/>
                <a:ext cx="83139" cy="93707"/>
              </a:xfrm>
              <a:prstGeom prst="triangle">
                <a:avLst/>
              </a:prstGeom>
              <a:solidFill>
                <a:srgbClr val="7C062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</p:grpSp>
        <p:grpSp>
          <p:nvGrpSpPr>
            <p:cNvPr id="74" name="Group 73"/>
            <p:cNvGrpSpPr/>
            <p:nvPr/>
          </p:nvGrpSpPr>
          <p:grpSpPr>
            <a:xfrm>
              <a:off x="5246908" y="2791797"/>
              <a:ext cx="1183395" cy="83139"/>
              <a:chOff x="5246908" y="2791797"/>
              <a:chExt cx="1183395" cy="83139"/>
            </a:xfrm>
          </p:grpSpPr>
          <p:cxnSp>
            <p:nvCxnSpPr>
              <p:cNvPr id="53" name="Straight Connector 52"/>
              <p:cNvCxnSpPr>
                <a:endCxn id="55" idx="3"/>
              </p:cNvCxnSpPr>
              <p:nvPr/>
            </p:nvCxnSpPr>
            <p:spPr>
              <a:xfrm>
                <a:off x="5246908" y="2833366"/>
                <a:ext cx="1089688" cy="1"/>
              </a:xfrm>
              <a:prstGeom prst="line">
                <a:avLst/>
              </a:prstGeom>
              <a:ln w="15875" cap="rnd">
                <a:solidFill>
                  <a:srgbClr val="7C0622"/>
                </a:solidFill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Triangle 54"/>
              <p:cNvSpPr/>
              <p:nvPr/>
            </p:nvSpPr>
            <p:spPr>
              <a:xfrm rot="5400000">
                <a:off x="6341880" y="2786513"/>
                <a:ext cx="83139" cy="93707"/>
              </a:xfrm>
              <a:prstGeom prst="triangle">
                <a:avLst/>
              </a:prstGeom>
              <a:solidFill>
                <a:srgbClr val="7C062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</p:grpSp>
      </p:grpSp>
      <p:sp>
        <p:nvSpPr>
          <p:cNvPr id="58" name="TextBox 57"/>
          <p:cNvSpPr txBox="1"/>
          <p:nvPr/>
        </p:nvSpPr>
        <p:spPr>
          <a:xfrm>
            <a:off x="1303331" y="3508397"/>
            <a:ext cx="1614545" cy="261610"/>
          </a:xfrm>
          <a:prstGeom prst="rect">
            <a:avLst/>
          </a:prstGeom>
        </p:spPr>
        <p:txBody>
          <a:bodyPr vert="horz" wrap="none" rtlCol="0">
            <a:spAutoFit/>
          </a:bodyPr>
          <a:lstStyle/>
          <a:p>
            <a:pPr algn="ctr"/>
            <a:r>
              <a:rPr lang="en-US" sz="1100" dirty="0" smtClean="0">
                <a:solidFill>
                  <a:srgbClr val="191918"/>
                </a:solidFill>
                <a:latin typeface="Helvetica" panose="020B0604020202020204" pitchFamily="34" charset="0"/>
                <a:ea typeface="Graphik" charset="0"/>
                <a:cs typeface="Helvetica" panose="020B0604020202020204" pitchFamily="34" charset="0"/>
              </a:rPr>
              <a:t>ELIGIBLE STUDENTS</a:t>
            </a:r>
          </a:p>
        </p:txBody>
      </p:sp>
      <p:grpSp>
        <p:nvGrpSpPr>
          <p:cNvPr id="75" name="Group 74"/>
          <p:cNvGrpSpPr/>
          <p:nvPr/>
        </p:nvGrpSpPr>
        <p:grpSpPr>
          <a:xfrm>
            <a:off x="3371193" y="1759139"/>
            <a:ext cx="2401618" cy="2349424"/>
            <a:chOff x="3371193" y="1583224"/>
            <a:chExt cx="2401618" cy="2114480"/>
          </a:xfrm>
        </p:grpSpPr>
        <p:grpSp>
          <p:nvGrpSpPr>
            <p:cNvPr id="20" name="Group 19"/>
            <p:cNvGrpSpPr/>
            <p:nvPr/>
          </p:nvGrpSpPr>
          <p:grpSpPr>
            <a:xfrm>
              <a:off x="4077035" y="1583224"/>
              <a:ext cx="992835" cy="497840"/>
              <a:chOff x="2675415" y="1838050"/>
              <a:chExt cx="992835" cy="497840"/>
            </a:xfrm>
          </p:grpSpPr>
          <p:pic>
            <p:nvPicPr>
              <p:cNvPr id="15" name="Picture 14"/>
              <p:cNvPicPr>
                <a:picLocks noChangeAspect="1"/>
              </p:cNvPicPr>
              <p:nvPr/>
            </p:nvPicPr>
            <p:blipFill>
              <a:blip r:embed="rId3">
                <a:alphaModFix amt="30000"/>
              </a:blip>
              <a:stretch>
                <a:fillRect/>
              </a:stretch>
            </p:blipFill>
            <p:spPr>
              <a:xfrm>
                <a:off x="2675415" y="1838050"/>
                <a:ext cx="185095" cy="497840"/>
              </a:xfrm>
              <a:prstGeom prst="rect">
                <a:avLst/>
              </a:prstGeom>
            </p:spPr>
          </p:pic>
          <p:pic>
            <p:nvPicPr>
              <p:cNvPr id="16" name="Picture 15"/>
              <p:cNvPicPr>
                <a:picLocks noChangeAspect="1"/>
              </p:cNvPicPr>
              <p:nvPr/>
            </p:nvPicPr>
            <p:blipFill>
              <a:blip r:embed="rId3">
                <a:alphaModFix amt="30000"/>
              </a:blip>
              <a:stretch>
                <a:fillRect/>
              </a:stretch>
            </p:blipFill>
            <p:spPr>
              <a:xfrm>
                <a:off x="2875711" y="1838050"/>
                <a:ext cx="185095" cy="497840"/>
              </a:xfrm>
              <a:prstGeom prst="rect">
                <a:avLst/>
              </a:prstGeom>
            </p:spPr>
          </p:pic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3">
                <a:alphaModFix amt="30000"/>
              </a:blip>
              <a:stretch>
                <a:fillRect/>
              </a:stretch>
            </p:blipFill>
            <p:spPr>
              <a:xfrm>
                <a:off x="3078912" y="1838050"/>
                <a:ext cx="185095" cy="497840"/>
              </a:xfrm>
              <a:prstGeom prst="rect">
                <a:avLst/>
              </a:prstGeom>
            </p:spPr>
          </p:pic>
          <p:pic>
            <p:nvPicPr>
              <p:cNvPr id="18" name="Picture 17"/>
              <p:cNvPicPr>
                <a:picLocks noChangeAspect="1"/>
              </p:cNvPicPr>
              <p:nvPr/>
            </p:nvPicPr>
            <p:blipFill>
              <a:blip r:embed="rId3">
                <a:alphaModFix amt="30000"/>
              </a:blip>
              <a:stretch>
                <a:fillRect/>
              </a:stretch>
            </p:blipFill>
            <p:spPr>
              <a:xfrm>
                <a:off x="3282112" y="1838050"/>
                <a:ext cx="185095" cy="497840"/>
              </a:xfrm>
              <a:prstGeom prst="rect">
                <a:avLst/>
              </a:prstGeom>
            </p:spPr>
          </p:pic>
          <p:pic>
            <p:nvPicPr>
              <p:cNvPr id="19" name="Picture 18"/>
              <p:cNvPicPr>
                <a:picLocks noChangeAspect="1"/>
              </p:cNvPicPr>
              <p:nvPr/>
            </p:nvPicPr>
            <p:blipFill>
              <a:blip r:embed="rId3">
                <a:alphaModFix amt="30000"/>
              </a:blip>
              <a:stretch>
                <a:fillRect/>
              </a:stretch>
            </p:blipFill>
            <p:spPr>
              <a:xfrm>
                <a:off x="3483155" y="1838050"/>
                <a:ext cx="185095" cy="497840"/>
              </a:xfrm>
              <a:prstGeom prst="rect">
                <a:avLst/>
              </a:prstGeom>
            </p:spPr>
          </p:pic>
        </p:grpSp>
        <p:grpSp>
          <p:nvGrpSpPr>
            <p:cNvPr id="21" name="Group 20"/>
            <p:cNvGrpSpPr/>
            <p:nvPr/>
          </p:nvGrpSpPr>
          <p:grpSpPr>
            <a:xfrm>
              <a:off x="4077035" y="2573643"/>
              <a:ext cx="992835" cy="497840"/>
              <a:chOff x="2675415" y="1838050"/>
              <a:chExt cx="992835" cy="497840"/>
            </a:xfrm>
          </p:grpSpPr>
          <p:pic>
            <p:nvPicPr>
              <p:cNvPr id="22" name="Picture 21"/>
              <p:cNvPicPr>
                <a:picLocks noChangeAspect="1"/>
              </p:cNvPicPr>
              <p:nvPr/>
            </p:nvPicPr>
            <p:blipFill>
              <a:blip r:embed="rId3">
                <a:alphaModFix amt="30000"/>
              </a:blip>
              <a:stretch>
                <a:fillRect/>
              </a:stretch>
            </p:blipFill>
            <p:spPr>
              <a:xfrm>
                <a:off x="2675415" y="1838050"/>
                <a:ext cx="185095" cy="497840"/>
              </a:xfrm>
              <a:prstGeom prst="rect">
                <a:avLst/>
              </a:prstGeom>
            </p:spPr>
          </p:pic>
          <p:pic>
            <p:nvPicPr>
              <p:cNvPr id="23" name="Picture 22"/>
              <p:cNvPicPr>
                <a:picLocks noChangeAspect="1"/>
              </p:cNvPicPr>
              <p:nvPr/>
            </p:nvPicPr>
            <p:blipFill>
              <a:blip r:embed="rId3">
                <a:alphaModFix amt="30000"/>
              </a:blip>
              <a:stretch>
                <a:fillRect/>
              </a:stretch>
            </p:blipFill>
            <p:spPr>
              <a:xfrm>
                <a:off x="2875711" y="1838050"/>
                <a:ext cx="185095" cy="497840"/>
              </a:xfrm>
              <a:prstGeom prst="rect">
                <a:avLst/>
              </a:prstGeom>
            </p:spPr>
          </p:pic>
          <p:pic>
            <p:nvPicPr>
              <p:cNvPr id="24" name="Picture 23"/>
              <p:cNvPicPr>
                <a:picLocks noChangeAspect="1"/>
              </p:cNvPicPr>
              <p:nvPr/>
            </p:nvPicPr>
            <p:blipFill>
              <a:blip r:embed="rId3">
                <a:alphaModFix amt="30000"/>
              </a:blip>
              <a:stretch>
                <a:fillRect/>
              </a:stretch>
            </p:blipFill>
            <p:spPr>
              <a:xfrm>
                <a:off x="3078912" y="1838050"/>
                <a:ext cx="185095" cy="497840"/>
              </a:xfrm>
              <a:prstGeom prst="rect">
                <a:avLst/>
              </a:prstGeom>
            </p:spPr>
          </p:pic>
          <p:pic>
            <p:nvPicPr>
              <p:cNvPr id="25" name="Picture 24"/>
              <p:cNvPicPr>
                <a:picLocks noChangeAspect="1"/>
              </p:cNvPicPr>
              <p:nvPr/>
            </p:nvPicPr>
            <p:blipFill>
              <a:blip r:embed="rId3">
                <a:alphaModFix amt="30000"/>
              </a:blip>
              <a:stretch>
                <a:fillRect/>
              </a:stretch>
            </p:blipFill>
            <p:spPr>
              <a:xfrm>
                <a:off x="3282112" y="1838050"/>
                <a:ext cx="185095" cy="497840"/>
              </a:xfrm>
              <a:prstGeom prst="rect">
                <a:avLst/>
              </a:prstGeom>
            </p:spPr>
          </p:pic>
          <p:pic>
            <p:nvPicPr>
              <p:cNvPr id="26" name="Picture 25"/>
              <p:cNvPicPr>
                <a:picLocks noChangeAspect="1"/>
              </p:cNvPicPr>
              <p:nvPr/>
            </p:nvPicPr>
            <p:blipFill>
              <a:blip r:embed="rId3">
                <a:alphaModFix amt="30000"/>
              </a:blip>
              <a:stretch>
                <a:fillRect/>
              </a:stretch>
            </p:blipFill>
            <p:spPr>
              <a:xfrm>
                <a:off x="3483155" y="1838050"/>
                <a:ext cx="185095" cy="497840"/>
              </a:xfrm>
              <a:prstGeom prst="rect">
                <a:avLst/>
              </a:prstGeom>
            </p:spPr>
          </p:pic>
        </p:grpSp>
        <p:sp>
          <p:nvSpPr>
            <p:cNvPr id="59" name="TextBox 58"/>
            <p:cNvSpPr txBox="1"/>
            <p:nvPr/>
          </p:nvSpPr>
          <p:spPr>
            <a:xfrm>
              <a:off x="3371193" y="3157557"/>
              <a:ext cx="2401618" cy="540147"/>
            </a:xfrm>
            <a:prstGeom prst="rect">
              <a:avLst/>
            </a:prstGeom>
          </p:spPr>
          <p:txBody>
            <a:bodyPr vert="horz" wrap="none" rtlCol="0">
              <a:spAutoFit/>
            </a:bodyPr>
            <a:lstStyle/>
            <a:p>
              <a:pPr algn="ctr"/>
              <a:r>
                <a:rPr lang="en-US" sz="1100" dirty="0" smtClean="0">
                  <a:solidFill>
                    <a:srgbClr val="191918"/>
                  </a:solidFill>
                  <a:latin typeface="Helvetica" panose="020B0604020202020204" pitchFamily="34" charset="0"/>
                  <a:ea typeface="Graphik" charset="0"/>
                  <a:cs typeface="Helvetica" panose="020B0604020202020204" pitchFamily="34" charset="0"/>
                </a:rPr>
                <a:t>RANDOMLY</a:t>
              </a:r>
              <a:r>
                <a:rPr lang="en-US" sz="1100" dirty="0">
                  <a:solidFill>
                    <a:srgbClr val="191918"/>
                  </a:solidFill>
                  <a:latin typeface="Helvetica" panose="020B0604020202020204" pitchFamily="34" charset="0"/>
                  <a:ea typeface="Graphik" charset="0"/>
                  <a:cs typeface="Helvetica" panose="020B0604020202020204" pitchFamily="34" charset="0"/>
                </a:rPr>
                <a:t> </a:t>
              </a:r>
              <a:r>
                <a:rPr lang="en-US" sz="1100" dirty="0" smtClean="0">
                  <a:solidFill>
                    <a:srgbClr val="191918"/>
                  </a:solidFill>
                  <a:latin typeface="Helvetica" panose="020B0604020202020204" pitchFamily="34" charset="0"/>
                  <a:ea typeface="Graphik" charset="0"/>
                  <a:cs typeface="Helvetica" panose="020B0604020202020204" pitchFamily="34" charset="0"/>
                </a:rPr>
                <a:t>DIVIDED </a:t>
              </a:r>
            </a:p>
            <a:p>
              <a:pPr algn="ctr"/>
              <a:r>
                <a:rPr lang="en-US" sz="1100" dirty="0" smtClean="0">
                  <a:solidFill>
                    <a:srgbClr val="191918"/>
                  </a:solidFill>
                  <a:latin typeface="Helvetica" panose="020B0604020202020204" pitchFamily="34" charset="0"/>
                  <a:ea typeface="Graphik" charset="0"/>
                  <a:cs typeface="Helvetica" panose="020B0604020202020204" pitchFamily="34" charset="0"/>
                </a:rPr>
                <a:t>INTO TWO GROUPS,</a:t>
              </a:r>
            </a:p>
            <a:p>
              <a:pPr algn="ctr"/>
              <a:r>
                <a:rPr lang="en-US" sz="1100" dirty="0" smtClean="0">
                  <a:solidFill>
                    <a:srgbClr val="191918"/>
                  </a:solidFill>
                  <a:latin typeface="Helvetica" panose="020B0604020202020204" pitchFamily="34" charset="0"/>
                  <a:ea typeface="Graphik" charset="0"/>
                  <a:cs typeface="Helvetica" panose="020B0604020202020204" pitchFamily="34" charset="0"/>
                </a:rPr>
                <a:t>SIMILAR TO LOTTERY/COIN FLIP</a:t>
              </a:r>
            </a:p>
          </p:txBody>
        </p:sp>
      </p:grpSp>
      <p:grpSp>
        <p:nvGrpSpPr>
          <p:cNvPr id="76" name="Group 75"/>
          <p:cNvGrpSpPr/>
          <p:nvPr/>
        </p:nvGrpSpPr>
        <p:grpSpPr>
          <a:xfrm>
            <a:off x="5947493" y="1759139"/>
            <a:ext cx="2172390" cy="2349424"/>
            <a:chOff x="5947492" y="1583224"/>
            <a:chExt cx="2172390" cy="2114480"/>
          </a:xfrm>
        </p:grpSpPr>
        <p:grpSp>
          <p:nvGrpSpPr>
            <p:cNvPr id="40" name="Group 39"/>
            <p:cNvGrpSpPr/>
            <p:nvPr/>
          </p:nvGrpSpPr>
          <p:grpSpPr>
            <a:xfrm>
              <a:off x="6537639" y="1583224"/>
              <a:ext cx="992835" cy="497840"/>
              <a:chOff x="4843580" y="1838050"/>
              <a:chExt cx="992835" cy="497840"/>
            </a:xfrm>
          </p:grpSpPr>
          <p:pic>
            <p:nvPicPr>
              <p:cNvPr id="28" name="Picture 27"/>
              <p:cNvPicPr>
                <a:picLocks noChangeAspect="1"/>
              </p:cNvPicPr>
              <p:nvPr/>
            </p:nvPicPr>
            <p:blipFill>
              <a:blip r:embed="rId3">
                <a:alphaModFix amt="30000"/>
              </a:blip>
              <a:stretch>
                <a:fillRect/>
              </a:stretch>
            </p:blipFill>
            <p:spPr>
              <a:xfrm>
                <a:off x="4843580" y="1838050"/>
                <a:ext cx="185095" cy="497840"/>
              </a:xfrm>
              <a:prstGeom prst="rect">
                <a:avLst/>
              </a:prstGeom>
            </p:spPr>
          </p:pic>
          <p:pic>
            <p:nvPicPr>
              <p:cNvPr id="29" name="Picture 28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043876" y="1838050"/>
                <a:ext cx="185095" cy="497840"/>
              </a:xfrm>
              <a:prstGeom prst="rect">
                <a:avLst/>
              </a:prstGeom>
            </p:spPr>
          </p:pic>
          <p:pic>
            <p:nvPicPr>
              <p:cNvPr id="30" name="Picture 29"/>
              <p:cNvPicPr>
                <a:picLocks noChangeAspect="1"/>
              </p:cNvPicPr>
              <p:nvPr/>
            </p:nvPicPr>
            <p:blipFill>
              <a:blip r:embed="rId3">
                <a:alphaModFix amt="30000"/>
              </a:blip>
              <a:stretch>
                <a:fillRect/>
              </a:stretch>
            </p:blipFill>
            <p:spPr>
              <a:xfrm>
                <a:off x="5247077" y="1838050"/>
                <a:ext cx="185095" cy="497840"/>
              </a:xfrm>
              <a:prstGeom prst="rect">
                <a:avLst/>
              </a:prstGeom>
            </p:spPr>
          </p:pic>
          <p:pic>
            <p:nvPicPr>
              <p:cNvPr id="31" name="Picture 30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450277" y="1838050"/>
                <a:ext cx="185095" cy="497840"/>
              </a:xfrm>
              <a:prstGeom prst="rect">
                <a:avLst/>
              </a:prstGeom>
            </p:spPr>
          </p:pic>
          <p:pic>
            <p:nvPicPr>
              <p:cNvPr id="32" name="Picture 31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651320" y="1838050"/>
                <a:ext cx="185095" cy="497840"/>
              </a:xfrm>
              <a:prstGeom prst="rect">
                <a:avLst/>
              </a:prstGeom>
            </p:spPr>
          </p:pic>
        </p:grpSp>
        <p:grpSp>
          <p:nvGrpSpPr>
            <p:cNvPr id="39" name="Group 38"/>
            <p:cNvGrpSpPr/>
            <p:nvPr/>
          </p:nvGrpSpPr>
          <p:grpSpPr>
            <a:xfrm>
              <a:off x="6537639" y="2573643"/>
              <a:ext cx="992835" cy="497840"/>
              <a:chOff x="4843580" y="3110669"/>
              <a:chExt cx="992835" cy="497840"/>
            </a:xfrm>
          </p:grpSpPr>
          <p:pic>
            <p:nvPicPr>
              <p:cNvPr id="34" name="Picture 33"/>
              <p:cNvPicPr>
                <a:picLocks noChangeAspect="1"/>
              </p:cNvPicPr>
              <p:nvPr/>
            </p:nvPicPr>
            <p:blipFill>
              <a:blip r:embed="rId3">
                <a:alphaModFix amt="30000"/>
              </a:blip>
              <a:stretch>
                <a:fillRect/>
              </a:stretch>
            </p:blipFill>
            <p:spPr>
              <a:xfrm>
                <a:off x="4843580" y="3110669"/>
                <a:ext cx="185095" cy="497840"/>
              </a:xfrm>
              <a:prstGeom prst="rect">
                <a:avLst/>
              </a:prstGeom>
            </p:spPr>
          </p:pic>
          <p:pic>
            <p:nvPicPr>
              <p:cNvPr id="35" name="Picture 34"/>
              <p:cNvPicPr>
                <a:picLocks noChangeAspect="1"/>
              </p:cNvPicPr>
              <p:nvPr/>
            </p:nvPicPr>
            <p:blipFill>
              <a:blip r:embed="rId3">
                <a:alphaModFix amt="30000"/>
              </a:blip>
              <a:stretch>
                <a:fillRect/>
              </a:stretch>
            </p:blipFill>
            <p:spPr>
              <a:xfrm>
                <a:off x="5043876" y="3110669"/>
                <a:ext cx="185095" cy="497840"/>
              </a:xfrm>
              <a:prstGeom prst="rect">
                <a:avLst/>
              </a:prstGeom>
            </p:spPr>
          </p:pic>
          <p:pic>
            <p:nvPicPr>
              <p:cNvPr id="36" name="Picture 35"/>
              <p:cNvPicPr>
                <a:picLocks noChangeAspect="1"/>
              </p:cNvPicPr>
              <p:nvPr/>
            </p:nvPicPr>
            <p:blipFill>
              <a:blip r:embed="rId3">
                <a:alphaModFix amt="30000"/>
              </a:blip>
              <a:stretch>
                <a:fillRect/>
              </a:stretch>
            </p:blipFill>
            <p:spPr>
              <a:xfrm>
                <a:off x="5247077" y="3110669"/>
                <a:ext cx="185095" cy="497840"/>
              </a:xfrm>
              <a:prstGeom prst="rect">
                <a:avLst/>
              </a:prstGeom>
            </p:spPr>
          </p:pic>
          <p:pic>
            <p:nvPicPr>
              <p:cNvPr id="37" name="Picture 36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450277" y="3110669"/>
                <a:ext cx="185095" cy="497840"/>
              </a:xfrm>
              <a:prstGeom prst="rect">
                <a:avLst/>
              </a:prstGeom>
            </p:spPr>
          </p:pic>
          <p:pic>
            <p:nvPicPr>
              <p:cNvPr id="38" name="Picture 37"/>
              <p:cNvPicPr>
                <a:picLocks noChangeAspect="1"/>
              </p:cNvPicPr>
              <p:nvPr/>
            </p:nvPicPr>
            <p:blipFill>
              <a:blip r:embed="rId3">
                <a:alphaModFix amt="30000"/>
              </a:blip>
              <a:stretch>
                <a:fillRect/>
              </a:stretch>
            </p:blipFill>
            <p:spPr>
              <a:xfrm>
                <a:off x="5651320" y="3110669"/>
                <a:ext cx="185095" cy="497840"/>
              </a:xfrm>
              <a:prstGeom prst="rect">
                <a:avLst/>
              </a:prstGeom>
            </p:spPr>
          </p:pic>
        </p:grpSp>
        <p:sp>
          <p:nvSpPr>
            <p:cNvPr id="60" name="TextBox 59"/>
            <p:cNvSpPr txBox="1"/>
            <p:nvPr/>
          </p:nvSpPr>
          <p:spPr>
            <a:xfrm>
              <a:off x="5947492" y="3157557"/>
              <a:ext cx="2172390" cy="540147"/>
            </a:xfrm>
            <a:prstGeom prst="rect">
              <a:avLst/>
            </a:prstGeom>
          </p:spPr>
          <p:txBody>
            <a:bodyPr vert="horz" wrap="none" rtlCol="0">
              <a:spAutoFit/>
            </a:bodyPr>
            <a:lstStyle/>
            <a:p>
              <a:pPr algn="ctr"/>
              <a:r>
                <a:rPr lang="en-US" sz="1100" dirty="0" smtClean="0">
                  <a:solidFill>
                    <a:srgbClr val="191918"/>
                  </a:solidFill>
                  <a:latin typeface="Helvetica" panose="020B0604020202020204" pitchFamily="34" charset="0"/>
                  <a:ea typeface="Graphik" charset="0"/>
                  <a:cs typeface="Helvetica" panose="020B0604020202020204" pitchFamily="34" charset="0"/>
                </a:rPr>
                <a:t>POST-INTERVENTION,</a:t>
              </a:r>
            </a:p>
            <a:p>
              <a:pPr algn="ctr"/>
              <a:r>
                <a:rPr lang="en-US" sz="1100" dirty="0" smtClean="0">
                  <a:solidFill>
                    <a:srgbClr val="191918"/>
                  </a:solidFill>
                  <a:latin typeface="Helvetica" panose="020B0604020202020204" pitchFamily="34" charset="0"/>
                  <a:ea typeface="Graphik" charset="0"/>
                  <a:cs typeface="Helvetica" panose="020B0604020202020204" pitchFamily="34" charset="0"/>
                </a:rPr>
                <a:t>OUTCOMES ARE MEASURED</a:t>
              </a:r>
            </a:p>
            <a:p>
              <a:pPr algn="ctr"/>
              <a:r>
                <a:rPr lang="en-US" sz="1100" dirty="0" smtClean="0">
                  <a:solidFill>
                    <a:srgbClr val="191918"/>
                  </a:solidFill>
                  <a:latin typeface="Helvetica" panose="020B0604020202020204" pitchFamily="34" charset="0"/>
                  <a:ea typeface="Graphik" charset="0"/>
                  <a:cs typeface="Helvetica" panose="020B0604020202020204" pitchFamily="34" charset="0"/>
                </a:rPr>
                <a:t>FOR BOTH GROUPS</a:t>
              </a: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2620276" y="4459620"/>
            <a:ext cx="3905913" cy="490401"/>
            <a:chOff x="2467444" y="4447869"/>
            <a:chExt cx="3905913" cy="441360"/>
          </a:xfrm>
        </p:grpSpPr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467444" y="4447869"/>
              <a:ext cx="137074" cy="368680"/>
            </a:xfrm>
            <a:prstGeom prst="rect">
              <a:avLst/>
            </a:prstGeom>
          </p:spPr>
        </p:pic>
        <p:pic>
          <p:nvPicPr>
            <p:cNvPr id="67" name="Picture 66"/>
            <p:cNvPicPr>
              <a:picLocks noChangeAspect="1"/>
            </p:cNvPicPr>
            <p:nvPr/>
          </p:nvPicPr>
          <p:blipFill>
            <a:blip r:embed="rId3">
              <a:alphaModFix amt="30000"/>
            </a:blip>
            <a:stretch>
              <a:fillRect/>
            </a:stretch>
          </p:blipFill>
          <p:spPr>
            <a:xfrm>
              <a:off x="4451973" y="4447869"/>
              <a:ext cx="137074" cy="368680"/>
            </a:xfrm>
            <a:prstGeom prst="rect">
              <a:avLst/>
            </a:prstGeom>
          </p:spPr>
        </p:pic>
        <p:sp>
          <p:nvSpPr>
            <p:cNvPr id="68" name="TextBox 67"/>
            <p:cNvSpPr txBox="1"/>
            <p:nvPr/>
          </p:nvSpPr>
          <p:spPr>
            <a:xfrm>
              <a:off x="2644653" y="4501431"/>
              <a:ext cx="1560042" cy="387798"/>
            </a:xfrm>
            <a:prstGeom prst="rect">
              <a:avLst/>
            </a:prstGeom>
          </p:spPr>
          <p:txBody>
            <a:bodyPr vert="horz" wrap="none" rtlCol="0">
              <a:spAutoFit/>
            </a:bodyPr>
            <a:lstStyle/>
            <a:p>
              <a:pPr algn="ctr"/>
              <a:r>
                <a:rPr lang="en-US" sz="1100" dirty="0" smtClean="0">
                  <a:solidFill>
                    <a:srgbClr val="7C0622"/>
                  </a:solidFill>
                  <a:latin typeface="Helvetica" panose="020B0604020202020204" pitchFamily="34" charset="0"/>
                  <a:ea typeface="Graphik Medium" charset="0"/>
                  <a:cs typeface="Helvetica" panose="020B0604020202020204" pitchFamily="34" charset="0"/>
                </a:rPr>
                <a:t>BEHAVIOR CHANGE</a:t>
              </a:r>
            </a:p>
            <a:p>
              <a:pPr algn="ctr"/>
              <a:endParaRPr lang="en-US" sz="1100" dirty="0" smtClean="0">
                <a:solidFill>
                  <a:srgbClr val="7C0622"/>
                </a:solidFill>
                <a:latin typeface="Helvetica" panose="020B0604020202020204" pitchFamily="34" charset="0"/>
                <a:ea typeface="Graphik Medium" charset="0"/>
                <a:cs typeface="Helvetica" panose="020B0604020202020204" pitchFamily="34" charset="0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4563246" y="4501431"/>
              <a:ext cx="1810111" cy="235449"/>
            </a:xfrm>
            <a:prstGeom prst="rect">
              <a:avLst/>
            </a:prstGeom>
          </p:spPr>
          <p:txBody>
            <a:bodyPr vert="horz" wrap="none" rtlCol="0">
              <a:spAutoFit/>
            </a:bodyPr>
            <a:lstStyle/>
            <a:p>
              <a:pPr algn="ctr"/>
              <a:r>
                <a:rPr lang="en-US" sz="1100" dirty="0" smtClean="0">
                  <a:solidFill>
                    <a:srgbClr val="D8B3BC"/>
                  </a:solidFill>
                  <a:latin typeface="Helvetica" panose="020B0604020202020204" pitchFamily="34" charset="0"/>
                  <a:ea typeface="Graphik Medium" charset="0"/>
                  <a:cs typeface="Helvetica" panose="020B0604020202020204" pitchFamily="34" charset="0"/>
                </a:rPr>
                <a:t>NO BEHAVIOR CHANG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963347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072" y="235135"/>
            <a:ext cx="8229600" cy="524997"/>
          </a:xfrm>
        </p:spPr>
        <p:txBody>
          <a:bodyPr/>
          <a:lstStyle/>
          <a:p>
            <a:r>
              <a:rPr lang="en-US" sz="3200" b="1" dirty="0" smtClean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Violence Worldwide</a:t>
            </a:r>
            <a:endParaRPr lang="en-US" sz="3200" b="1" dirty="0">
              <a:solidFill>
                <a:schemeClr val="tx2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072" y="920885"/>
            <a:ext cx="8775928" cy="3917557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>
                <a:latin typeface="Helvetica" panose="020B0604020202020204" pitchFamily="34" charset="0"/>
                <a:cs typeface="Helvetica" panose="020B0604020202020204" pitchFamily="34" charset="0"/>
              </a:rPr>
              <a:t>In 2012, the United Nations Office of Drugs &amp; Crime estimated that </a:t>
            </a:r>
            <a:r>
              <a:rPr lang="en-US" sz="2800" b="1" dirty="0">
                <a:solidFill>
                  <a:schemeClr val="bg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437,000</a:t>
            </a:r>
            <a:r>
              <a:rPr lang="en-US" sz="2800" dirty="0">
                <a:latin typeface="Helvetica" panose="020B0604020202020204" pitchFamily="34" charset="0"/>
                <a:cs typeface="Helvetica" panose="020B0604020202020204" pitchFamily="34" charset="0"/>
              </a:rPr>
              <a:t> people worldwide (6.2 per 100,000 pop.) died of intentional violent injuries.</a:t>
            </a:r>
            <a:r>
              <a:rPr lang="en-US" sz="2800" baseline="30000" dirty="0">
                <a:latin typeface="Helvetica" panose="020B0604020202020204" pitchFamily="34" charset="0"/>
                <a:cs typeface="Helvetica" panose="020B0604020202020204" pitchFamily="34" charset="0"/>
              </a:rPr>
              <a:t>1</a:t>
            </a:r>
            <a:r>
              <a:rPr lang="en-US" sz="28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endParaRPr lang="en-US" sz="9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lvl="1"/>
            <a:r>
              <a:rPr lang="en-US" b="1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f these deaths: </a:t>
            </a:r>
          </a:p>
          <a:p>
            <a:pPr marL="800100" lvl="1" indent="-342900">
              <a:buFont typeface="Arial"/>
              <a:buChar char="•"/>
            </a:pPr>
            <a:r>
              <a:rPr lang="en-US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4.7 per 100,000 pop. occurred in the United States.</a:t>
            </a:r>
            <a:r>
              <a:rPr lang="en-US" baseline="30000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</a:t>
            </a:r>
            <a:r>
              <a:rPr lang="en-US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</a:p>
          <a:p>
            <a:pPr marL="800100" lvl="1" indent="-342900">
              <a:buFont typeface="Arial"/>
              <a:buChar char="•"/>
            </a:pPr>
            <a:r>
              <a:rPr lang="en-US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8.41 per 100,000 pop. occurred in Chicago.</a:t>
            </a:r>
            <a:r>
              <a:rPr lang="en-US" baseline="30000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</a:t>
            </a:r>
            <a:r>
              <a:rPr lang="en-US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</a:p>
          <a:p>
            <a:pPr marL="800100" lvl="1" indent="-342900">
              <a:buFont typeface="Arial"/>
              <a:buChar char="•"/>
            </a:pPr>
            <a:r>
              <a:rPr lang="en-US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5.2 per 100,000 pop. occurred in Brazil.</a:t>
            </a:r>
            <a:r>
              <a:rPr lang="en-US" baseline="30000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</a:t>
            </a:r>
            <a:endParaRPr lang="en-US" dirty="0">
              <a:solidFill>
                <a:srgbClr val="8000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800100" lvl="1" indent="-342900">
              <a:buFont typeface="Arial"/>
              <a:buChar char="•"/>
            </a:pPr>
            <a:r>
              <a:rPr lang="en-US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41.2 per 100,000 pop. occurred in El Salvador.</a:t>
            </a:r>
            <a:r>
              <a:rPr lang="en-US" baseline="30000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</a:t>
            </a:r>
          </a:p>
          <a:p>
            <a:pPr marL="800100" lvl="1" indent="-342900">
              <a:buFont typeface="Arial"/>
              <a:buChar char="•"/>
            </a:pPr>
            <a:r>
              <a:rPr lang="en-US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3.5 per 100,000 pop. occurred in India.</a:t>
            </a:r>
            <a:r>
              <a:rPr lang="en-US" baseline="30000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</a:t>
            </a:r>
          </a:p>
          <a:p>
            <a:pPr marL="800100" lvl="1" indent="-342900">
              <a:buFont typeface="Arial"/>
              <a:buChar char="•"/>
            </a:pPr>
            <a:r>
              <a:rPr lang="en-US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0.7 per 100,000 pop. occurred in Sweden.</a:t>
            </a:r>
            <a:r>
              <a:rPr lang="en-US" baseline="30000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</a:t>
            </a:r>
          </a:p>
          <a:p>
            <a:endParaRPr lang="en-US" dirty="0">
              <a:latin typeface="Graphik Medium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68072" y="4933029"/>
            <a:ext cx="793793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100" baseline="30000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</a:t>
            </a:r>
            <a:r>
              <a:rPr lang="en-US" sz="1100" dirty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nited Nations Office on Drugs and Crime (2013) Intentional homicide, count and rate per 100,000 population (2000 - 2011)</a:t>
            </a:r>
          </a:p>
          <a:p>
            <a:pPr defTabSz="457200"/>
            <a:r>
              <a:rPr lang="en-US" sz="1100" baseline="30000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</a:t>
            </a:r>
            <a:r>
              <a:rPr lang="en-US" sz="1100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ederal Bureau of Investigation </a:t>
            </a:r>
            <a:r>
              <a:rPr lang="en-US" sz="1100" dirty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(</a:t>
            </a:r>
            <a:r>
              <a:rPr lang="en-US" sz="1100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013) Crime in the United States 2012.</a:t>
            </a:r>
            <a:endParaRPr lang="en-US" sz="1100" dirty="0">
              <a:solidFill>
                <a:prstClr val="black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4516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Z:\BAM II\Pictures\BAM I Group Photo3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86"/>
          <a:stretch/>
        </p:blipFill>
        <p:spPr bwMode="auto">
          <a:xfrm>
            <a:off x="0" y="6"/>
            <a:ext cx="9144000" cy="6076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32" r="8408" b="32300"/>
          <a:stretch>
            <a:fillRect/>
          </a:stretch>
        </p:blipFill>
        <p:spPr bwMode="auto">
          <a:xfrm>
            <a:off x="25" y="2419351"/>
            <a:ext cx="9155113" cy="365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33009" y="3425568"/>
            <a:ext cx="4349863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3800" b="1" dirty="0" smtClean="0">
                <a:solidFill>
                  <a:schemeClr val="bg1"/>
                </a:solidFill>
                <a:latin typeface="Helvetica" panose="020B0604020202020204" pitchFamily="34" charset="0"/>
                <a:ea typeface="ＭＳ Ｐゴシック" pitchFamily="34" charset="-128"/>
                <a:cs typeface="Helvetica" panose="020B0604020202020204" pitchFamily="34" charset="0"/>
              </a:rPr>
              <a:t>Study 1: 2009-10</a:t>
            </a: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280986" y="4456224"/>
            <a:ext cx="8863014" cy="16002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  <a:defRPr/>
            </a:pPr>
            <a:r>
              <a:rPr lang="en-US" sz="3000" b="1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ecoming a Man </a:t>
            </a:r>
            <a:r>
              <a:rPr lang="en-US" sz="2200" b="1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(Youth Guidance)</a:t>
            </a:r>
          </a:p>
          <a:p>
            <a:pPr marL="236538" indent="-236538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sz="3000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7 week, 1 hour / week, 10-15 students / group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543985" y="838200"/>
            <a:ext cx="6056055" cy="2862322"/>
          </a:xfrm>
          <a:prstGeom prst="rect">
            <a:avLst/>
          </a:prstGeom>
          <a:solidFill>
            <a:srgbClr val="000000">
              <a:alpha val="50196"/>
            </a:srgbClr>
          </a:solidFill>
          <a:ln w="76200">
            <a:noFill/>
          </a:ln>
          <a:effectLst>
            <a:softEdge rad="317500"/>
          </a:effectLst>
        </p:spPr>
        <p:txBody>
          <a:bodyPr wrap="square" rtlCol="0">
            <a:spAutoFit/>
          </a:bodyPr>
          <a:lstStyle/>
          <a:p>
            <a:r>
              <a:rPr lang="en-US" sz="18000" b="1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-45</a:t>
            </a:r>
            <a:r>
              <a:rPr lang="en-US" sz="18000" b="1" dirty="0" smtClean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214836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Y:\UEL\Communications\Possible wall photos\20140211_BAM-MATCH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15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13459"/>
          <a:stretch/>
        </p:blipFill>
        <p:spPr bwMode="auto">
          <a:xfrm>
            <a:off x="-46057" y="-8247"/>
            <a:ext cx="9190057" cy="5723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-46057" y="1079594"/>
            <a:ext cx="9190057" cy="3139321"/>
          </a:xfrm>
          <a:prstGeom prst="rect">
            <a:avLst/>
          </a:prstGeom>
          <a:solidFill>
            <a:srgbClr val="000000">
              <a:alpha val="50196"/>
            </a:srgbClr>
          </a:solidFill>
          <a:effectLst>
            <a:softEdge rad="317500"/>
          </a:effectLst>
        </p:spPr>
        <p:txBody>
          <a:bodyPr wrap="square">
            <a:spAutoFit/>
          </a:bodyPr>
          <a:lstStyle/>
          <a:p>
            <a:pPr algn="ctr"/>
            <a:r>
              <a:rPr lang="en-US" sz="6600" b="1" dirty="0" smtClean="0">
                <a:ln w="18415" cmpd="sng">
                  <a:solidFill>
                    <a:prstClr val="white"/>
                  </a:solidFill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elvetica" panose="020B0604020202020204" pitchFamily="34" charset="0"/>
                <a:cs typeface="Helvetica" panose="020B0604020202020204" pitchFamily="34" charset="0"/>
              </a:rPr>
              <a:t>Too difficult and costly to improve academic outcomes?</a:t>
            </a:r>
            <a:endParaRPr lang="en-US" sz="1200" dirty="0">
              <a:ln w="18415" cmpd="sng">
                <a:solidFill>
                  <a:prstClr val="white"/>
                </a:solidFill>
                <a:prstDash val="solid"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643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type="title"/>
          </p:nvPr>
        </p:nvSpPr>
        <p:spPr>
          <a:xfrm>
            <a:off x="357188" y="1277849"/>
            <a:ext cx="8329612" cy="2896373"/>
          </a:xfrm>
          <a:effectLst/>
        </p:spPr>
        <p:txBody>
          <a:bodyPr/>
          <a:lstStyle/>
          <a:p>
            <a:pPr algn="ctr">
              <a:spcBef>
                <a:spcPct val="0"/>
              </a:spcBef>
              <a:buNone/>
            </a:pPr>
            <a:r>
              <a:rPr lang="en-US" altLang="en-US" sz="4400" b="1" spc="50" dirty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For all </a:t>
            </a:r>
            <a:r>
              <a:rPr lang="en-US" altLang="en-US" sz="4400" b="1" i="1" spc="50" dirty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a </a:t>
            </a:r>
            <a:r>
              <a:rPr lang="en-US" altLang="en-US" sz="4400" b="1" spc="50" dirty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and </a:t>
            </a:r>
            <a:r>
              <a:rPr lang="en-US" altLang="en-US" sz="4400" b="1" i="1" spc="50" dirty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b</a:t>
            </a:r>
            <a:r>
              <a:rPr lang="en-US" altLang="en-US" sz="4400" b="1" spc="50" dirty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, </a:t>
            </a:r>
            <a:endParaRPr lang="en-US" altLang="en-US" sz="4400" b="1" spc="50" dirty="0" smtClean="0">
              <a:ln w="13500">
                <a:solidFill>
                  <a:schemeClr val="bg1">
                    <a:alpha val="6500"/>
                  </a:schemeClr>
                </a:solidFill>
                <a:prstDash val="solid"/>
              </a:ln>
              <a:solidFill>
                <a:schemeClr val="bg1"/>
              </a:solidFill>
              <a:effectLst/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>
              <a:spcBef>
                <a:spcPct val="0"/>
              </a:spcBef>
              <a:buNone/>
            </a:pPr>
            <a:r>
              <a:rPr lang="en-US" altLang="en-US" sz="4400" b="1" spc="50" dirty="0" smtClean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6</a:t>
            </a:r>
            <a:r>
              <a:rPr lang="en-US" altLang="en-US" sz="4400" b="1" i="1" spc="50" dirty="0" smtClean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a</a:t>
            </a:r>
            <a:r>
              <a:rPr lang="en-US" altLang="en-US" sz="4400" b="1" i="1" spc="50" baseline="30000" dirty="0" smtClean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  <a:sym typeface="Symbol"/>
              </a:rPr>
              <a:t>2</a:t>
            </a:r>
            <a:r>
              <a:rPr lang="en-US" altLang="en-US" sz="4400" b="1" i="1" spc="50" dirty="0" smtClean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  <a:sym typeface="Symbol"/>
              </a:rPr>
              <a:t>b</a:t>
            </a:r>
            <a:r>
              <a:rPr lang="en-US" altLang="en-US" sz="4400" b="1" spc="50" baseline="30000" dirty="0" smtClean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  <a:sym typeface="Symbol"/>
              </a:rPr>
              <a:t>3</a:t>
            </a:r>
            <a:r>
              <a:rPr lang="en-US" altLang="en-US" sz="4400" b="1" spc="50" dirty="0" smtClean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  <a:sym typeface="Symbol"/>
              </a:rPr>
              <a:t> </a:t>
            </a:r>
            <a:r>
              <a:rPr lang="en-US" altLang="en-US" sz="4400" b="1" spc="50" dirty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  <a:sym typeface="Symbol"/>
              </a:rPr>
              <a:t>– 3</a:t>
            </a:r>
            <a:r>
              <a:rPr lang="en-US" altLang="en-US" sz="4400" b="1" i="1" spc="50" dirty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  <a:sym typeface="Symbol"/>
              </a:rPr>
              <a:t>a</a:t>
            </a:r>
            <a:r>
              <a:rPr lang="en-US" altLang="en-US" sz="4400" b="1" spc="50" baseline="30000" dirty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  <a:sym typeface="Symbol"/>
              </a:rPr>
              <a:t>2</a:t>
            </a:r>
            <a:r>
              <a:rPr lang="en-US" altLang="en-US" sz="4400" b="1" i="1" spc="50" dirty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  <a:sym typeface="Symbol"/>
              </a:rPr>
              <a:t>b</a:t>
            </a:r>
            <a:r>
              <a:rPr lang="en-US" altLang="en-US" sz="4400" b="1" spc="50" dirty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  <a:sym typeface="Symbol"/>
              </a:rPr>
              <a:t> is equivalent to which of the expressions?</a:t>
            </a:r>
          </a:p>
          <a:p>
            <a:pPr algn="ctr">
              <a:spcBef>
                <a:spcPct val="0"/>
              </a:spcBef>
              <a:buNone/>
            </a:pPr>
            <a:endParaRPr lang="en-US" altLang="en-US" sz="4400" b="1" spc="50" dirty="0">
              <a:ln w="13500">
                <a:solidFill>
                  <a:schemeClr val="bg1">
                    <a:alpha val="6500"/>
                  </a:schemeClr>
                </a:solidFill>
                <a:prstDash val="solid"/>
              </a:ln>
              <a:solidFill>
                <a:schemeClr val="bg1"/>
              </a:solidFill>
              <a:effectLst/>
              <a:latin typeface="Helvetica" panose="020B0604020202020204" pitchFamily="34" charset="0"/>
              <a:cs typeface="Helvetica" panose="020B0604020202020204" pitchFamily="34" charset="0"/>
              <a:sym typeface="Symbol"/>
            </a:endParaRPr>
          </a:p>
          <a:p>
            <a:pPr algn="ctr">
              <a:spcBef>
                <a:spcPct val="0"/>
              </a:spcBef>
              <a:buNone/>
            </a:pPr>
            <a:r>
              <a:rPr lang="en-US" altLang="en-US" sz="4400" b="1" spc="50" dirty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  <a:sym typeface="Symbol"/>
              </a:rPr>
              <a:t>If 3</a:t>
            </a:r>
            <a:r>
              <a:rPr lang="en-US" altLang="en-US" sz="4400" b="1" i="1" spc="50" dirty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  <a:sym typeface="Symbol"/>
              </a:rPr>
              <a:t>x</a:t>
            </a:r>
            <a:r>
              <a:rPr lang="en-US" altLang="en-US" sz="4400" b="1" spc="50" dirty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  <a:sym typeface="Symbol"/>
              </a:rPr>
              <a:t> – 10 = 24, then </a:t>
            </a:r>
            <a:r>
              <a:rPr lang="en-US" altLang="en-US" sz="4400" b="1" i="1" spc="50" dirty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  <a:sym typeface="Symbol"/>
              </a:rPr>
              <a:t>x = ?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46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type="title"/>
          </p:nvPr>
        </p:nvSpPr>
        <p:spPr>
          <a:xfrm>
            <a:off x="357188" y="1501199"/>
            <a:ext cx="8329612" cy="2896373"/>
          </a:xfrm>
          <a:effectLst/>
        </p:spPr>
        <p:txBody>
          <a:bodyPr/>
          <a:lstStyle/>
          <a:p>
            <a:pPr algn="ctr">
              <a:spcBef>
                <a:spcPct val="0"/>
              </a:spcBef>
              <a:buNone/>
            </a:pPr>
            <a:r>
              <a:rPr lang="en-US" altLang="en-US" sz="7200" b="1" spc="50" dirty="0" smtClean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8 + 14 – 7</a:t>
            </a:r>
            <a:r>
              <a:rPr lang="en-US" altLang="en-US" sz="7200" b="1" spc="50" dirty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altLang="en-US" sz="7200" b="1" spc="50" dirty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altLang="en-US" sz="7200" b="1" spc="50" dirty="0" smtClean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altLang="en-US" sz="7200" b="1" spc="50" dirty="0" smtClean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altLang="en-US" sz="7200" b="1" i="1" spc="50" dirty="0" smtClean="0">
                <a:ln w="13500">
                  <a:solidFill>
                    <a:schemeClr val="bg1"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7 x 4</a:t>
            </a:r>
            <a:endParaRPr lang="en-US" altLang="en-US" sz="7200" b="1" i="1" spc="50" dirty="0">
              <a:ln w="13500">
                <a:solidFill>
                  <a:schemeClr val="bg1">
                    <a:alpha val="6500"/>
                  </a:schemeClr>
                </a:solidFill>
                <a:prstDash val="solid"/>
              </a:ln>
              <a:solidFill>
                <a:schemeClr val="bg1"/>
              </a:solidFill>
              <a:effectLst/>
              <a:latin typeface="Helvetica" panose="020B0604020202020204" pitchFamily="34" charset="0"/>
              <a:cs typeface="Helvetica" panose="020B0604020202020204" pitchFamily="34" charset="0"/>
              <a:sym typeface="Symbol"/>
            </a:endParaRPr>
          </a:p>
          <a:p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4132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8698" y="0"/>
            <a:ext cx="9152698" cy="4944753"/>
          </a:xfrm>
          <a:prstGeom prst="rect">
            <a:avLst/>
          </a:prstGeom>
          <a:gradFill flip="none" rotWithShape="1">
            <a:gsLst>
              <a:gs pos="0">
                <a:srgbClr val="780019"/>
              </a:gs>
              <a:gs pos="100000">
                <a:srgbClr val="32000A"/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-8698" y="4944753"/>
            <a:ext cx="9152698" cy="770247"/>
          </a:xfrm>
          <a:prstGeom prst="rect">
            <a:avLst/>
          </a:prstGeom>
          <a:gradFill flip="none" rotWithShape="1">
            <a:gsLst>
              <a:gs pos="0">
                <a:srgbClr val="780019"/>
              </a:gs>
              <a:gs pos="100000">
                <a:srgbClr val="32000A"/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6" name="Picture 5" descr="Y:\UEL\Communications\Crime Lab logos\Signature Horizontal\RGB PNG\signature.horizontal.rgb.revers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00" y="5187116"/>
            <a:ext cx="3505200" cy="422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Y:\UEL\Communications\Possible wall photos\20140211_BAM-MATCH_7452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259"/>
          <a:stretch/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6374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jquinn1\Desktop\vc_rate_BAM_Match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-3432"/>
            <a:ext cx="4547056" cy="4903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5105400" y="190509"/>
            <a:ext cx="4038600" cy="48082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,718</a:t>
            </a:r>
            <a:r>
              <a:rPr lang="en-US" sz="6000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sz="6000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br>
              <a:rPr lang="en-US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3800" dirty="0" smtClean="0">
                <a:solidFill>
                  <a:srgbClr val="76767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9</a:t>
            </a:r>
            <a:r>
              <a:rPr lang="en-US" sz="3800" baseline="30000" dirty="0" smtClean="0">
                <a:solidFill>
                  <a:srgbClr val="76767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h</a:t>
            </a:r>
            <a:r>
              <a:rPr lang="en-US" sz="3800" dirty="0" smtClean="0">
                <a:solidFill>
                  <a:srgbClr val="76767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and 10</a:t>
            </a:r>
            <a:r>
              <a:rPr lang="en-US" sz="3800" baseline="30000" dirty="0" smtClean="0">
                <a:solidFill>
                  <a:srgbClr val="76767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h</a:t>
            </a:r>
            <a:r>
              <a:rPr lang="en-US" sz="3800" dirty="0" smtClean="0">
                <a:solidFill>
                  <a:srgbClr val="76767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graders randomly assigned to program vs. control</a:t>
            </a:r>
            <a:endParaRPr lang="en-US" sz="3800" dirty="0">
              <a:solidFill>
                <a:srgbClr val="767676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1007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253090"/>
            <a:ext cx="9144000" cy="863636"/>
          </a:xfrm>
        </p:spPr>
        <p:txBody>
          <a:bodyPr>
            <a:noAutofit/>
          </a:bodyPr>
          <a:lstStyle/>
          <a:p>
            <a:pPr algn="ctr">
              <a:lnSpc>
                <a:spcPct val="110000"/>
              </a:lnSpc>
              <a:defRPr sz="18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en-US" sz="3200" b="1" dirty="0">
                <a:solidFill>
                  <a:srgbClr val="800000"/>
                </a:solidFill>
              </a:rPr>
              <a:t>Gain in math scores by 30% of B-W gap </a:t>
            </a:r>
            <a:r>
              <a:rPr lang="en-US" sz="3200" b="1" dirty="0">
                <a:solidFill>
                  <a:schemeClr val="bg1"/>
                </a:solidFill>
              </a:rPr>
              <a:t/>
            </a:r>
            <a:br>
              <a:rPr lang="en-US" sz="3200" b="1" dirty="0">
                <a:solidFill>
                  <a:schemeClr val="bg1"/>
                </a:solidFill>
              </a:rPr>
            </a:br>
            <a:r>
              <a:rPr lang="en-US" sz="2300" b="1" dirty="0">
                <a:solidFill>
                  <a:srgbClr val="767676"/>
                </a:solidFill>
              </a:rPr>
              <a:t>(equal to 1 to 2 years of </a:t>
            </a:r>
            <a:r>
              <a:rPr lang="en-US" sz="2300" b="1" i="1" dirty="0">
                <a:solidFill>
                  <a:srgbClr val="767676"/>
                </a:solidFill>
              </a:rPr>
              <a:t>extra</a:t>
            </a:r>
            <a:r>
              <a:rPr lang="en-US" sz="2300" b="1" dirty="0">
                <a:solidFill>
                  <a:srgbClr val="767676"/>
                </a:solidFill>
              </a:rPr>
              <a:t> math learning, in 1 year</a:t>
            </a:r>
            <a:r>
              <a:rPr lang="en-US" sz="2300" b="1" dirty="0" smtClean="0">
                <a:solidFill>
                  <a:srgbClr val="767676"/>
                </a:solidFill>
              </a:rPr>
              <a:t>)</a:t>
            </a:r>
            <a:endParaRPr lang="en-US" sz="2300" dirty="0">
              <a:solidFill>
                <a:srgbClr val="767676"/>
              </a:solidFill>
            </a:endParaRPr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432839204"/>
              </p:ext>
            </p:extLst>
          </p:nvPr>
        </p:nvGraphicFramePr>
        <p:xfrm>
          <a:off x="283780" y="1541538"/>
          <a:ext cx="8135006" cy="3674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2916621" y="1423382"/>
            <a:ext cx="3563006" cy="2369181"/>
            <a:chOff x="3121573" y="1545032"/>
            <a:chExt cx="3563006" cy="2843017"/>
          </a:xfrm>
          <a:effectLst/>
        </p:grpSpPr>
        <p:cxnSp>
          <p:nvCxnSpPr>
            <p:cNvPr id="7" name="Straight Connector 6"/>
            <p:cNvCxnSpPr/>
            <p:nvPr/>
          </p:nvCxnSpPr>
          <p:spPr>
            <a:xfrm flipV="1">
              <a:off x="3121573" y="1545032"/>
              <a:ext cx="0" cy="63061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3121573" y="1560798"/>
              <a:ext cx="356300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" name="Straight Arrow Connector 8"/>
            <p:cNvCxnSpPr/>
            <p:nvPr/>
          </p:nvCxnSpPr>
          <p:spPr>
            <a:xfrm>
              <a:off x="6684579" y="1545032"/>
              <a:ext cx="0" cy="2843017"/>
            </a:xfrm>
            <a:prstGeom prst="straightConnector1">
              <a:avLst/>
            </a:prstGeom>
            <a:ln>
              <a:solidFill>
                <a:schemeClr val="tx2"/>
              </a:solidFill>
              <a:tailEnd type="arrow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28520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-8698" y="0"/>
            <a:ext cx="9152698" cy="1143000"/>
          </a:xfrm>
          <a:prstGeom prst="rect">
            <a:avLst/>
          </a:prstGeom>
          <a:gradFill flip="none" rotWithShape="1">
            <a:gsLst>
              <a:gs pos="0">
                <a:srgbClr val="780019"/>
              </a:gs>
              <a:gs pos="100000">
                <a:srgbClr val="32000A"/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5933705"/>
            <a:ext cx="9152698" cy="924296"/>
          </a:xfrm>
          <a:prstGeom prst="rect">
            <a:avLst/>
          </a:prstGeom>
          <a:gradFill flip="none" rotWithShape="1">
            <a:gsLst>
              <a:gs pos="0">
                <a:srgbClr val="780019"/>
              </a:gs>
              <a:gs pos="100000">
                <a:srgbClr val="32000A"/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5" name="Picture 4" descr="Y:\UEL\Communications\Crime Lab logos\Signature Horizontal\RGB PNG\signature.horizontal.rgb.revers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00" y="6224624"/>
            <a:ext cx="3505200" cy="506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32" r="8408" b="32300"/>
          <a:stretch>
            <a:fillRect/>
          </a:stretch>
        </p:blipFill>
        <p:spPr bwMode="auto">
          <a:xfrm>
            <a:off x="-8698" y="2504704"/>
            <a:ext cx="9152698" cy="342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42219" y="3638550"/>
            <a:ext cx="4132884" cy="8715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3800" b="1" dirty="0" smtClean="0">
                <a:solidFill>
                  <a:prstClr val="white"/>
                </a:solidFill>
                <a:latin typeface="Helvetica" panose="020B0604020202020204" pitchFamily="34" charset="0"/>
                <a:ea typeface="ＭＳ Ｐゴシック" pitchFamily="34" charset="-128"/>
                <a:cs typeface="Helvetica" panose="020B0604020202020204" pitchFamily="34" charset="0"/>
              </a:rPr>
              <a:t>Study 2: 2013-15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16708" y="4513885"/>
            <a:ext cx="8736013" cy="1411456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  <a:defRPr/>
            </a:pPr>
            <a:r>
              <a:rPr lang="en-US" sz="3000" b="1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ecoming a Man</a:t>
            </a:r>
            <a:r>
              <a:rPr lang="en-US" sz="2600" b="1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b="1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(Youth Guidance)</a:t>
            </a:r>
          </a:p>
          <a:p>
            <a:pPr marL="236538" indent="-236538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sz="2800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,064 male 9</a:t>
            </a:r>
            <a:r>
              <a:rPr lang="en-US" sz="2800" baseline="30000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h</a:t>
            </a:r>
            <a:r>
              <a:rPr lang="en-US" sz="2800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and 10</a:t>
            </a:r>
            <a:r>
              <a:rPr lang="en-US" sz="2800" baseline="30000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h</a:t>
            </a:r>
            <a:r>
              <a:rPr lang="en-US" sz="2800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graders, 9 CPS high school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601796" y="951470"/>
            <a:ext cx="5573962" cy="2862322"/>
          </a:xfrm>
          <a:prstGeom prst="rect">
            <a:avLst/>
          </a:prstGeom>
          <a:solidFill>
            <a:srgbClr val="000000">
              <a:alpha val="50196"/>
            </a:srgbClr>
          </a:solidFill>
          <a:ln w="76200">
            <a:noFill/>
          </a:ln>
          <a:effectLst>
            <a:softEdge rad="317500"/>
          </a:effectLst>
        </p:spPr>
        <p:txBody>
          <a:bodyPr wrap="none" rtlCol="0">
            <a:spAutoFit/>
          </a:bodyPr>
          <a:lstStyle/>
          <a:p>
            <a:pPr defTabSz="914400"/>
            <a:r>
              <a:rPr lang="en-US" sz="18000" b="1" dirty="0" smtClean="0">
                <a:solidFill>
                  <a:prstClr val="white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-50%</a:t>
            </a:r>
            <a:endParaRPr lang="en-US" sz="18000" b="1" dirty="0">
              <a:solidFill>
                <a:prstClr val="white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18651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4" name="Picture 6" descr="C:\Users\msistla\Desktop\graduation-clip-art-9cRa8j7ce.pn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7957" y="1899708"/>
            <a:ext cx="8888413" cy="4233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1"/>
          <p:cNvSpPr txBox="1">
            <a:spLocks/>
          </p:cNvSpPr>
          <p:nvPr/>
        </p:nvSpPr>
        <p:spPr>
          <a:xfrm>
            <a:off x="401076" y="995832"/>
            <a:ext cx="8742924" cy="5195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en-US" sz="3800" b="1" dirty="0" smtClean="0">
                <a:solidFill>
                  <a:srgbClr val="0B0506"/>
                </a:solidFill>
                <a:latin typeface="Helvetica" panose="020B0604020202020204" pitchFamily="34" charset="0"/>
                <a:ea typeface="ＭＳ Ｐゴシック" pitchFamily="34" charset="-128"/>
                <a:cs typeface="Helvetica" panose="020B0604020202020204" pitchFamily="34" charset="0"/>
              </a:rPr>
              <a:t>Study 1: 2009-10</a:t>
            </a:r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496899" y="1515312"/>
            <a:ext cx="8736013" cy="5881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  <a:defRPr/>
            </a:pPr>
            <a:r>
              <a:rPr lang="en-US" sz="3000" dirty="0" smtClean="0">
                <a:solidFill>
                  <a:srgbClr val="0B050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Long-term follow-up data</a:t>
            </a:r>
            <a:endParaRPr lang="en-US" sz="2800" dirty="0" smtClean="0">
              <a:solidFill>
                <a:srgbClr val="0B0506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08806" y="5102175"/>
            <a:ext cx="454219" cy="43816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28640" y="81597"/>
            <a:ext cx="549688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Now that it’s 2016…</a:t>
            </a:r>
            <a:endParaRPr lang="en-US" sz="4400" b="1" dirty="0">
              <a:solidFill>
                <a:srgbClr val="8000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6946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4" name="Picture 6" descr="C:\Users\msistla\Desktop\graduation-clip-art-9cRa8j7ce.pn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7957" y="1899708"/>
            <a:ext cx="8888413" cy="4233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2956560" y="572559"/>
            <a:ext cx="4804520" cy="2862322"/>
          </a:xfrm>
          <a:prstGeom prst="rect">
            <a:avLst/>
          </a:prstGeom>
          <a:noFill/>
          <a:ln w="76200">
            <a:noFill/>
          </a:ln>
          <a:effectLst>
            <a:softEdge rad="317500"/>
          </a:effectLst>
        </p:spPr>
        <p:txBody>
          <a:bodyPr wrap="none" rtlCol="0">
            <a:spAutoFit/>
          </a:bodyPr>
          <a:lstStyle/>
          <a:p>
            <a:pPr defTabSz="914400"/>
            <a:r>
              <a:rPr lang="en-US" sz="180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8%</a:t>
            </a:r>
            <a:endParaRPr lang="en-US" sz="18000" b="1" dirty="0">
              <a:solidFill>
                <a:srgbClr val="8000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08806" y="5102175"/>
            <a:ext cx="454219" cy="438161"/>
          </a:xfrm>
          <a:prstGeom prst="rect">
            <a:avLst/>
          </a:prstGeom>
        </p:spPr>
      </p:pic>
      <p:sp>
        <p:nvSpPr>
          <p:cNvPr id="2" name="Up Arrow 1"/>
          <p:cNvSpPr/>
          <p:nvPr/>
        </p:nvSpPr>
        <p:spPr bwMode="auto">
          <a:xfrm>
            <a:off x="2103120" y="1068605"/>
            <a:ext cx="853440" cy="1781276"/>
          </a:xfrm>
          <a:prstGeom prst="upArrow">
            <a:avLst/>
          </a:prstGeom>
          <a:solidFill>
            <a:srgbClr val="800000"/>
          </a:solidFill>
          <a:ln w="9525" cap="flat" cmpd="sng" algn="ctr">
            <a:solidFill>
              <a:srgbClr val="8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u="sng" smtClean="0">
              <a:solidFill>
                <a:srgbClr val="CCCCFF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4671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072" y="235135"/>
            <a:ext cx="8229600" cy="524997"/>
          </a:xfrm>
        </p:spPr>
        <p:txBody>
          <a:bodyPr/>
          <a:lstStyle/>
          <a:p>
            <a:r>
              <a:rPr lang="en-US" sz="3200" b="1" dirty="0" smtClean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isproportionate Effect on Youth</a:t>
            </a:r>
            <a:endParaRPr lang="en-US" sz="3200" b="1" dirty="0">
              <a:solidFill>
                <a:schemeClr val="tx2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idx="4294967295"/>
          </p:nvPr>
        </p:nvSpPr>
        <p:spPr>
          <a:xfrm>
            <a:off x="368072" y="935247"/>
            <a:ext cx="8229600" cy="698500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0" indent="0">
              <a:buFont typeface="Arial" charset="0"/>
              <a:buNone/>
            </a:pPr>
            <a:r>
              <a:rPr lang="en-US" sz="2400" dirty="0" smtClean="0">
                <a:solidFill>
                  <a:srgbClr val="76767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rime disproportionately affects youth, both in terms of crimes committed and as victims of violent crimes</a:t>
            </a:r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3959264"/>
              </p:ext>
            </p:extLst>
          </p:nvPr>
        </p:nvGraphicFramePr>
        <p:xfrm>
          <a:off x="328126" y="1712577"/>
          <a:ext cx="4191000" cy="355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2808374"/>
              </p:ext>
            </p:extLst>
          </p:nvPr>
        </p:nvGraphicFramePr>
        <p:xfrm>
          <a:off x="4673600" y="1712577"/>
          <a:ext cx="4210050" cy="355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830084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404937" y="4966941"/>
            <a:ext cx="18345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st</a:t>
            </a:r>
            <a:endParaRPr lang="en-US" sz="3600" dirty="0">
              <a:solidFill>
                <a:srgbClr val="FFFFFF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4572000" y="-19022"/>
            <a:ext cx="0" cy="572464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TextBox 7"/>
          <p:cNvSpPr txBox="1"/>
          <p:nvPr/>
        </p:nvSpPr>
        <p:spPr>
          <a:xfrm>
            <a:off x="5946696" y="4950391"/>
            <a:ext cx="1794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enefit</a:t>
            </a:r>
            <a:endParaRPr lang="en-US" sz="3600" dirty="0">
              <a:solidFill>
                <a:srgbClr val="FFFFFF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050736" y="2017997"/>
            <a:ext cx="5429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2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$</a:t>
            </a:r>
            <a:endParaRPr lang="en-US" sz="4200" b="1" dirty="0">
              <a:solidFill>
                <a:srgbClr val="FFFFFF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dirty="0">
              <a:solidFill>
                <a:srgbClr val="CCCCFF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981577" y="244275"/>
            <a:ext cx="3724271" cy="4985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0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$$$$$</a:t>
            </a:r>
          </a:p>
          <a:p>
            <a:pPr algn="ctr"/>
            <a:r>
              <a:rPr lang="en-US" sz="50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$$$$$</a:t>
            </a:r>
          </a:p>
          <a:p>
            <a:pPr algn="ctr"/>
            <a:r>
              <a:rPr lang="en-US" sz="50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$$$$$</a:t>
            </a:r>
          </a:p>
          <a:p>
            <a:pPr algn="ctr"/>
            <a:r>
              <a:rPr lang="en-US" sz="50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$$$$$</a:t>
            </a:r>
          </a:p>
          <a:p>
            <a:pPr algn="ctr"/>
            <a:r>
              <a:rPr lang="en-US" sz="50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$$$$$</a:t>
            </a:r>
          </a:p>
          <a:p>
            <a:pPr algn="ctr"/>
            <a:r>
              <a:rPr lang="en-US" sz="50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$$$$$</a:t>
            </a:r>
            <a:endParaRPr lang="en-US" sz="5000" b="1" dirty="0">
              <a:solidFill>
                <a:srgbClr val="FFFFFF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dirty="0">
              <a:solidFill>
                <a:srgbClr val="CCCCFF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5968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75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250"/>
                            </p:stCondLst>
                            <p:childTnLst>
                              <p:par>
                                <p:cTn id="2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750"/>
                            </p:stCondLst>
                            <p:childTnLst>
                              <p:par>
                                <p:cTn id="3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7188" y="721363"/>
            <a:ext cx="8329612" cy="35825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“</a:t>
            </a:r>
            <a:r>
              <a:rPr lang="en-US" sz="3600" b="1" dirty="0" smtClean="0">
                <a:solidFill>
                  <a:srgbClr val="F8A429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0 percent </a:t>
            </a:r>
            <a:r>
              <a:rPr lang="en-US" sz="36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of </a:t>
            </a:r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our residents are criminals, they just need to be locked up. But the other </a:t>
            </a:r>
            <a:r>
              <a:rPr lang="en-US" sz="3600" b="1" dirty="0" smtClean="0">
                <a:solidFill>
                  <a:srgbClr val="F8A429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80 percent</a:t>
            </a:r>
            <a:r>
              <a:rPr lang="en-US" sz="36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, </a:t>
            </a:r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I always tell them – if I could give them back just </a:t>
            </a:r>
            <a:r>
              <a:rPr lang="en-US" sz="3600" b="1" dirty="0" smtClean="0">
                <a:solidFill>
                  <a:srgbClr val="F8A429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en minutes </a:t>
            </a:r>
            <a:r>
              <a:rPr lang="en-US" sz="36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of </a:t>
            </a:r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their lives, most of them wouldn’t be here</a:t>
            </a:r>
            <a:r>
              <a:rPr lang="en-US" sz="36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.”</a:t>
            </a:r>
          </a:p>
          <a:p>
            <a:endParaRPr lang="en-US" sz="3600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4845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866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2782700" y="955622"/>
            <a:ext cx="357860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smtClean="0">
                <a:solidFill>
                  <a:prstClr val="black"/>
                </a:solidFill>
                <a:latin typeface="Helvetica" panose="020B0604020202020204" pitchFamily="34" charset="0"/>
                <a:ea typeface="Graphik Light" charset="0"/>
                <a:cs typeface="Helvetica" panose="020B0604020202020204" pitchFamily="34" charset="0"/>
              </a:rPr>
              <a:t>WE WORK WITH CITIES TO:</a:t>
            </a:r>
            <a:endParaRPr lang="en-US" sz="2000" b="1" dirty="0">
              <a:solidFill>
                <a:srgbClr val="8A0021"/>
              </a:solidFill>
              <a:latin typeface="Helvetica" panose="020B0604020202020204" pitchFamily="34" charset="0"/>
              <a:ea typeface="Graphik Semibold" charset="0"/>
              <a:cs typeface="Helvetica" panose="020B0604020202020204" pitchFamily="34" charset="0"/>
            </a:endParaRPr>
          </a:p>
        </p:txBody>
      </p:sp>
      <p:sp>
        <p:nvSpPr>
          <p:cNvPr id="18" name="Freeform 15"/>
          <p:cNvSpPr>
            <a:spLocks noChangeArrowheads="1"/>
          </p:cNvSpPr>
          <p:nvPr/>
        </p:nvSpPr>
        <p:spPr bwMode="auto">
          <a:xfrm>
            <a:off x="1297148" y="1798802"/>
            <a:ext cx="936766" cy="1084567"/>
          </a:xfrm>
          <a:custGeom>
            <a:avLst/>
            <a:gdLst>
              <a:gd name="T0" fmla="*/ 1588 w 2207"/>
              <a:gd name="T1" fmla="*/ 1015 h 2296"/>
              <a:gd name="T2" fmla="*/ 816 w 2207"/>
              <a:gd name="T3" fmla="*/ 199 h 2296"/>
              <a:gd name="T4" fmla="*/ 684 w 2207"/>
              <a:gd name="T5" fmla="*/ 905 h 2296"/>
              <a:gd name="T6" fmla="*/ 132 w 2207"/>
              <a:gd name="T7" fmla="*/ 1655 h 2296"/>
              <a:gd name="T8" fmla="*/ 904 w 2207"/>
              <a:gd name="T9" fmla="*/ 1103 h 2296"/>
              <a:gd name="T10" fmla="*/ 1588 w 2207"/>
              <a:gd name="T11" fmla="*/ 1015 h 2296"/>
              <a:gd name="T12" fmla="*/ 926 w 2207"/>
              <a:gd name="T13" fmla="*/ 883 h 2296"/>
              <a:gd name="T14" fmla="*/ 1456 w 2207"/>
              <a:gd name="T15" fmla="*/ 353 h 2296"/>
              <a:gd name="T16" fmla="*/ 926 w 2207"/>
              <a:gd name="T17" fmla="*/ 883 h 2296"/>
              <a:gd name="T18" fmla="*/ 1963 w 2207"/>
              <a:gd name="T19" fmla="*/ 1964 h 2296"/>
              <a:gd name="T20" fmla="*/ 2096 w 2207"/>
              <a:gd name="T21" fmla="*/ 1919 h 2296"/>
              <a:gd name="T22" fmla="*/ 2051 w 2207"/>
              <a:gd name="T23" fmla="*/ 66 h 2296"/>
              <a:gd name="T24" fmla="*/ 1919 w 2207"/>
              <a:gd name="T25" fmla="*/ 110 h 2296"/>
              <a:gd name="T26" fmla="*/ 1963 w 2207"/>
              <a:gd name="T27" fmla="*/ 1964 h 2296"/>
              <a:gd name="T28" fmla="*/ 2162 w 2207"/>
              <a:gd name="T29" fmla="*/ 2096 h 2296"/>
              <a:gd name="T30" fmla="*/ 0 w 2207"/>
              <a:gd name="T31" fmla="*/ 2140 h 2296"/>
              <a:gd name="T32" fmla="*/ 43 w 2207"/>
              <a:gd name="T33" fmla="*/ 2295 h 2296"/>
              <a:gd name="T34" fmla="*/ 2206 w 2207"/>
              <a:gd name="T35" fmla="*/ 2250 h 2296"/>
              <a:gd name="T36" fmla="*/ 2162 w 2207"/>
              <a:gd name="T37" fmla="*/ 2096 h 2296"/>
              <a:gd name="T38" fmla="*/ 88 w 2207"/>
              <a:gd name="T39" fmla="*/ 1809 h 2296"/>
              <a:gd name="T40" fmla="*/ 132 w 2207"/>
              <a:gd name="T41" fmla="*/ 1964 h 2296"/>
              <a:gd name="T42" fmla="*/ 264 w 2207"/>
              <a:gd name="T43" fmla="*/ 1919 h 2296"/>
              <a:gd name="T44" fmla="*/ 264 w 2207"/>
              <a:gd name="T45" fmla="*/ 1831 h 2296"/>
              <a:gd name="T46" fmla="*/ 88 w 2207"/>
              <a:gd name="T47" fmla="*/ 1809 h 2296"/>
              <a:gd name="T48" fmla="*/ 551 w 2207"/>
              <a:gd name="T49" fmla="*/ 1699 h 2296"/>
              <a:gd name="T50" fmla="*/ 596 w 2207"/>
              <a:gd name="T51" fmla="*/ 1964 h 2296"/>
              <a:gd name="T52" fmla="*/ 728 w 2207"/>
              <a:gd name="T53" fmla="*/ 1919 h 2296"/>
              <a:gd name="T54" fmla="*/ 706 w 2207"/>
              <a:gd name="T55" fmla="*/ 1501 h 2296"/>
              <a:gd name="T56" fmla="*/ 551 w 2207"/>
              <a:gd name="T57" fmla="*/ 1699 h 2296"/>
              <a:gd name="T58" fmla="*/ 1456 w 2207"/>
              <a:gd name="T59" fmla="*/ 1236 h 2296"/>
              <a:gd name="T60" fmla="*/ 1500 w 2207"/>
              <a:gd name="T61" fmla="*/ 1964 h 2296"/>
              <a:gd name="T62" fmla="*/ 1655 w 2207"/>
              <a:gd name="T63" fmla="*/ 1919 h 2296"/>
              <a:gd name="T64" fmla="*/ 1632 w 2207"/>
              <a:gd name="T65" fmla="*/ 1125 h 2296"/>
              <a:gd name="T66" fmla="*/ 992 w 2207"/>
              <a:gd name="T67" fmla="*/ 1280 h 2296"/>
              <a:gd name="T68" fmla="*/ 992 w 2207"/>
              <a:gd name="T69" fmla="*/ 1919 h 2296"/>
              <a:gd name="T70" fmla="*/ 1147 w 2207"/>
              <a:gd name="T71" fmla="*/ 1964 h 2296"/>
              <a:gd name="T72" fmla="*/ 1191 w 2207"/>
              <a:gd name="T73" fmla="*/ 1302 h 2296"/>
              <a:gd name="T74" fmla="*/ 1014 w 2207"/>
              <a:gd name="T75" fmla="*/ 1280 h 2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207" h="2296">
                <a:moveTo>
                  <a:pt x="1588" y="1015"/>
                </a:moveTo>
                <a:lnTo>
                  <a:pt x="1588" y="1015"/>
                </a:lnTo>
                <a:cubicBezTo>
                  <a:pt x="1809" y="795"/>
                  <a:pt x="1787" y="419"/>
                  <a:pt x="1566" y="221"/>
                </a:cubicBezTo>
                <a:cubicBezTo>
                  <a:pt x="1367" y="0"/>
                  <a:pt x="1037" y="0"/>
                  <a:pt x="816" y="199"/>
                </a:cubicBezTo>
                <a:cubicBezTo>
                  <a:pt x="617" y="375"/>
                  <a:pt x="573" y="662"/>
                  <a:pt x="684" y="883"/>
                </a:cubicBezTo>
                <a:cubicBezTo>
                  <a:pt x="706" y="883"/>
                  <a:pt x="706" y="883"/>
                  <a:pt x="684" y="905"/>
                </a:cubicBezTo>
                <a:lnTo>
                  <a:pt x="154" y="1390"/>
                </a:lnTo>
                <a:cubicBezTo>
                  <a:pt x="66" y="1456"/>
                  <a:pt x="66" y="1589"/>
                  <a:pt x="132" y="1655"/>
                </a:cubicBezTo>
                <a:cubicBezTo>
                  <a:pt x="198" y="1743"/>
                  <a:pt x="331" y="1743"/>
                  <a:pt x="396" y="1655"/>
                </a:cubicBezTo>
                <a:lnTo>
                  <a:pt x="904" y="1103"/>
                </a:lnTo>
                <a:lnTo>
                  <a:pt x="926" y="1103"/>
                </a:lnTo>
                <a:cubicBezTo>
                  <a:pt x="1125" y="1213"/>
                  <a:pt x="1412" y="1191"/>
                  <a:pt x="1588" y="1015"/>
                </a:cubicBezTo>
                <a:close/>
                <a:moveTo>
                  <a:pt x="926" y="883"/>
                </a:moveTo>
                <a:lnTo>
                  <a:pt x="926" y="883"/>
                </a:lnTo>
                <a:cubicBezTo>
                  <a:pt x="772" y="728"/>
                  <a:pt x="772" y="485"/>
                  <a:pt x="926" y="353"/>
                </a:cubicBezTo>
                <a:cubicBezTo>
                  <a:pt x="1059" y="199"/>
                  <a:pt x="1302" y="199"/>
                  <a:pt x="1456" y="353"/>
                </a:cubicBezTo>
                <a:cubicBezTo>
                  <a:pt x="1610" y="485"/>
                  <a:pt x="1610" y="728"/>
                  <a:pt x="1456" y="883"/>
                </a:cubicBezTo>
                <a:cubicBezTo>
                  <a:pt x="1302" y="1037"/>
                  <a:pt x="1059" y="1037"/>
                  <a:pt x="926" y="883"/>
                </a:cubicBezTo>
                <a:close/>
                <a:moveTo>
                  <a:pt x="1963" y="1964"/>
                </a:moveTo>
                <a:lnTo>
                  <a:pt x="1963" y="1964"/>
                </a:lnTo>
                <a:cubicBezTo>
                  <a:pt x="2051" y="1964"/>
                  <a:pt x="2021" y="1964"/>
                  <a:pt x="2051" y="1964"/>
                </a:cubicBezTo>
                <a:cubicBezTo>
                  <a:pt x="2073" y="1964"/>
                  <a:pt x="2096" y="1942"/>
                  <a:pt x="2096" y="1919"/>
                </a:cubicBezTo>
                <a:lnTo>
                  <a:pt x="2096" y="110"/>
                </a:lnTo>
                <a:cubicBezTo>
                  <a:pt x="2096" y="89"/>
                  <a:pt x="2073" y="66"/>
                  <a:pt x="2051" y="66"/>
                </a:cubicBezTo>
                <a:lnTo>
                  <a:pt x="1963" y="66"/>
                </a:lnTo>
                <a:cubicBezTo>
                  <a:pt x="1941" y="66"/>
                  <a:pt x="1919" y="89"/>
                  <a:pt x="1919" y="110"/>
                </a:cubicBezTo>
                <a:lnTo>
                  <a:pt x="1919" y="1919"/>
                </a:lnTo>
                <a:cubicBezTo>
                  <a:pt x="1919" y="1942"/>
                  <a:pt x="1941" y="1964"/>
                  <a:pt x="1963" y="1964"/>
                </a:cubicBezTo>
                <a:close/>
                <a:moveTo>
                  <a:pt x="2162" y="2096"/>
                </a:moveTo>
                <a:lnTo>
                  <a:pt x="2162" y="2096"/>
                </a:lnTo>
                <a:lnTo>
                  <a:pt x="43" y="2096"/>
                </a:lnTo>
                <a:cubicBezTo>
                  <a:pt x="22" y="2096"/>
                  <a:pt x="0" y="2118"/>
                  <a:pt x="0" y="2140"/>
                </a:cubicBezTo>
                <a:lnTo>
                  <a:pt x="0" y="2250"/>
                </a:lnTo>
                <a:cubicBezTo>
                  <a:pt x="0" y="2272"/>
                  <a:pt x="22" y="2295"/>
                  <a:pt x="43" y="2295"/>
                </a:cubicBezTo>
                <a:lnTo>
                  <a:pt x="2162" y="2295"/>
                </a:lnTo>
                <a:cubicBezTo>
                  <a:pt x="2184" y="2295"/>
                  <a:pt x="2206" y="2272"/>
                  <a:pt x="2206" y="2250"/>
                </a:cubicBezTo>
                <a:lnTo>
                  <a:pt x="2206" y="2140"/>
                </a:lnTo>
                <a:cubicBezTo>
                  <a:pt x="2206" y="2118"/>
                  <a:pt x="2184" y="2096"/>
                  <a:pt x="2162" y="2096"/>
                </a:cubicBezTo>
                <a:close/>
                <a:moveTo>
                  <a:pt x="88" y="1809"/>
                </a:moveTo>
                <a:lnTo>
                  <a:pt x="88" y="1809"/>
                </a:lnTo>
                <a:lnTo>
                  <a:pt x="88" y="1919"/>
                </a:lnTo>
                <a:cubicBezTo>
                  <a:pt x="88" y="1942"/>
                  <a:pt x="110" y="1964"/>
                  <a:pt x="132" y="1964"/>
                </a:cubicBezTo>
                <a:lnTo>
                  <a:pt x="220" y="1964"/>
                </a:lnTo>
                <a:cubicBezTo>
                  <a:pt x="243" y="1964"/>
                  <a:pt x="264" y="1942"/>
                  <a:pt x="264" y="1919"/>
                </a:cubicBezTo>
                <a:lnTo>
                  <a:pt x="264" y="1854"/>
                </a:lnTo>
                <a:lnTo>
                  <a:pt x="264" y="1831"/>
                </a:lnTo>
                <a:cubicBezTo>
                  <a:pt x="243" y="1831"/>
                  <a:pt x="154" y="1809"/>
                  <a:pt x="110" y="1787"/>
                </a:cubicBezTo>
                <a:cubicBezTo>
                  <a:pt x="88" y="1787"/>
                  <a:pt x="88" y="1787"/>
                  <a:pt x="88" y="1809"/>
                </a:cubicBezTo>
                <a:close/>
                <a:moveTo>
                  <a:pt x="551" y="1699"/>
                </a:moveTo>
                <a:lnTo>
                  <a:pt x="551" y="1699"/>
                </a:lnTo>
                <a:cubicBezTo>
                  <a:pt x="551" y="1919"/>
                  <a:pt x="551" y="1845"/>
                  <a:pt x="551" y="1919"/>
                </a:cubicBezTo>
                <a:cubicBezTo>
                  <a:pt x="551" y="1942"/>
                  <a:pt x="573" y="1964"/>
                  <a:pt x="596" y="1964"/>
                </a:cubicBezTo>
                <a:lnTo>
                  <a:pt x="684" y="1964"/>
                </a:lnTo>
                <a:cubicBezTo>
                  <a:pt x="706" y="1964"/>
                  <a:pt x="728" y="1942"/>
                  <a:pt x="728" y="1919"/>
                </a:cubicBezTo>
                <a:lnTo>
                  <a:pt x="728" y="1501"/>
                </a:lnTo>
                <a:lnTo>
                  <a:pt x="706" y="1501"/>
                </a:lnTo>
                <a:lnTo>
                  <a:pt x="551" y="1677"/>
                </a:lnTo>
                <a:lnTo>
                  <a:pt x="551" y="1699"/>
                </a:lnTo>
                <a:close/>
                <a:moveTo>
                  <a:pt x="1456" y="1236"/>
                </a:moveTo>
                <a:lnTo>
                  <a:pt x="1456" y="1236"/>
                </a:lnTo>
                <a:lnTo>
                  <a:pt x="1456" y="1919"/>
                </a:lnTo>
                <a:cubicBezTo>
                  <a:pt x="1456" y="1942"/>
                  <a:pt x="1478" y="1964"/>
                  <a:pt x="1500" y="1964"/>
                </a:cubicBezTo>
                <a:lnTo>
                  <a:pt x="1588" y="1964"/>
                </a:lnTo>
                <a:cubicBezTo>
                  <a:pt x="1632" y="1964"/>
                  <a:pt x="1655" y="1942"/>
                  <a:pt x="1655" y="1919"/>
                </a:cubicBezTo>
                <a:lnTo>
                  <a:pt x="1655" y="1125"/>
                </a:lnTo>
                <a:lnTo>
                  <a:pt x="1632" y="1125"/>
                </a:lnTo>
                <a:cubicBezTo>
                  <a:pt x="1588" y="1169"/>
                  <a:pt x="1522" y="1213"/>
                  <a:pt x="1456" y="1236"/>
                </a:cubicBezTo>
                <a:close/>
                <a:moveTo>
                  <a:pt x="992" y="1280"/>
                </a:moveTo>
                <a:lnTo>
                  <a:pt x="992" y="1280"/>
                </a:lnTo>
                <a:lnTo>
                  <a:pt x="992" y="1919"/>
                </a:lnTo>
                <a:cubicBezTo>
                  <a:pt x="992" y="1942"/>
                  <a:pt x="1014" y="1964"/>
                  <a:pt x="1059" y="1964"/>
                </a:cubicBezTo>
                <a:cubicBezTo>
                  <a:pt x="1147" y="1964"/>
                  <a:pt x="1117" y="1964"/>
                  <a:pt x="1147" y="1964"/>
                </a:cubicBezTo>
                <a:cubicBezTo>
                  <a:pt x="1169" y="1964"/>
                  <a:pt x="1191" y="1942"/>
                  <a:pt x="1191" y="1919"/>
                </a:cubicBezTo>
                <a:lnTo>
                  <a:pt x="1191" y="1302"/>
                </a:lnTo>
                <a:lnTo>
                  <a:pt x="1169" y="1302"/>
                </a:lnTo>
                <a:cubicBezTo>
                  <a:pt x="1147" y="1280"/>
                  <a:pt x="1081" y="1280"/>
                  <a:pt x="1014" y="1280"/>
                </a:cubicBezTo>
                <a:lnTo>
                  <a:pt x="992" y="1280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3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>
              <a:solidFill>
                <a:prstClr val="black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52197" y="3076719"/>
            <a:ext cx="26266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prstClr val="white">
                    <a:lumMod val="65000"/>
                  </a:prstClr>
                </a:solidFill>
                <a:latin typeface="Helvetica" panose="020B0604020202020204" pitchFamily="34" charset="0"/>
                <a:ea typeface="Graphik Semibold" charset="0"/>
                <a:cs typeface="Helvetica" panose="020B0604020202020204" pitchFamily="34" charset="0"/>
              </a:rPr>
              <a:t>IDENTIFY </a:t>
            </a:r>
            <a:endParaRPr lang="en-US" b="1" dirty="0" smtClean="0">
              <a:solidFill>
                <a:prstClr val="white">
                  <a:lumMod val="65000"/>
                </a:prstClr>
              </a:solidFill>
              <a:latin typeface="Helvetica" panose="020B0604020202020204" pitchFamily="34" charset="0"/>
              <a:ea typeface="Graphik Semibold" charset="0"/>
              <a:cs typeface="Helvetica" panose="020B0604020202020204" pitchFamily="34" charset="0"/>
            </a:endParaRPr>
          </a:p>
          <a:p>
            <a:pPr algn="ctr"/>
            <a:r>
              <a:rPr lang="en-US" dirty="0" smtClean="0">
                <a:solidFill>
                  <a:prstClr val="white">
                    <a:lumMod val="65000"/>
                  </a:prstClr>
                </a:solidFill>
                <a:latin typeface="Helvetica" panose="020B0604020202020204" pitchFamily="34" charset="0"/>
                <a:ea typeface="Graphik Light" charset="0"/>
                <a:cs typeface="Helvetica" panose="020B0604020202020204" pitchFamily="34" charset="0"/>
              </a:rPr>
              <a:t>promising </a:t>
            </a:r>
            <a:r>
              <a:rPr lang="en-US" dirty="0">
                <a:solidFill>
                  <a:prstClr val="white">
                    <a:lumMod val="65000"/>
                  </a:prstClr>
                </a:solidFill>
                <a:latin typeface="Helvetica" panose="020B0604020202020204" pitchFamily="34" charset="0"/>
                <a:ea typeface="Graphik Light" charset="0"/>
                <a:cs typeface="Helvetica" panose="020B0604020202020204" pitchFamily="34" charset="0"/>
              </a:rPr>
              <a:t>solutions to urban challenges</a:t>
            </a:r>
            <a:endParaRPr lang="en-US" b="1" dirty="0">
              <a:solidFill>
                <a:prstClr val="white">
                  <a:lumMod val="65000"/>
                </a:prstClr>
              </a:solidFill>
              <a:latin typeface="Helvetica" panose="020B0604020202020204" pitchFamily="34" charset="0"/>
              <a:ea typeface="Graphik Semibold" charset="0"/>
              <a:cs typeface="Helvetica" panose="020B0604020202020204" pitchFamily="34" charset="0"/>
            </a:endParaRPr>
          </a:p>
        </p:txBody>
      </p:sp>
      <p:sp>
        <p:nvSpPr>
          <p:cNvPr id="17" name="Freeform 13"/>
          <p:cNvSpPr>
            <a:spLocks noChangeArrowheads="1"/>
          </p:cNvSpPr>
          <p:nvPr/>
        </p:nvSpPr>
        <p:spPr bwMode="auto">
          <a:xfrm>
            <a:off x="4174497" y="1749350"/>
            <a:ext cx="795008" cy="1183462"/>
          </a:xfrm>
          <a:custGeom>
            <a:avLst/>
            <a:gdLst>
              <a:gd name="T0" fmla="*/ 397 w 1832"/>
              <a:gd name="T1" fmla="*/ 904 h 2450"/>
              <a:gd name="T2" fmla="*/ 485 w 1832"/>
              <a:gd name="T3" fmla="*/ 1125 h 2450"/>
              <a:gd name="T4" fmla="*/ 705 w 1832"/>
              <a:gd name="T5" fmla="*/ 816 h 2450"/>
              <a:gd name="T6" fmla="*/ 485 w 1832"/>
              <a:gd name="T7" fmla="*/ 1478 h 2450"/>
              <a:gd name="T8" fmla="*/ 332 w 1832"/>
              <a:gd name="T9" fmla="*/ 1456 h 2450"/>
              <a:gd name="T10" fmla="*/ 772 w 1832"/>
              <a:gd name="T11" fmla="*/ 1367 h 2450"/>
              <a:gd name="T12" fmla="*/ 485 w 1832"/>
              <a:gd name="T13" fmla="*/ 1478 h 2450"/>
              <a:gd name="T14" fmla="*/ 397 w 1832"/>
              <a:gd name="T15" fmla="*/ 1875 h 2450"/>
              <a:gd name="T16" fmla="*/ 485 w 1832"/>
              <a:gd name="T17" fmla="*/ 2096 h 2450"/>
              <a:gd name="T18" fmla="*/ 705 w 1832"/>
              <a:gd name="T19" fmla="*/ 1787 h 2450"/>
              <a:gd name="T20" fmla="*/ 1698 w 1832"/>
              <a:gd name="T21" fmla="*/ 331 h 2450"/>
              <a:gd name="T22" fmla="*/ 1412 w 1832"/>
              <a:gd name="T23" fmla="*/ 331 h 2450"/>
              <a:gd name="T24" fmla="*/ 1367 w 1832"/>
              <a:gd name="T25" fmla="*/ 220 h 2450"/>
              <a:gd name="T26" fmla="*/ 926 w 1832"/>
              <a:gd name="T27" fmla="*/ 0 h 2450"/>
              <a:gd name="T28" fmla="*/ 464 w 1832"/>
              <a:gd name="T29" fmla="*/ 220 h 2450"/>
              <a:gd name="T30" fmla="*/ 420 w 1832"/>
              <a:gd name="T31" fmla="*/ 331 h 2450"/>
              <a:gd name="T32" fmla="*/ 0 w 1832"/>
              <a:gd name="T33" fmla="*/ 463 h 2450"/>
              <a:gd name="T34" fmla="*/ 132 w 1832"/>
              <a:gd name="T35" fmla="*/ 2449 h 2450"/>
              <a:gd name="T36" fmla="*/ 1831 w 1832"/>
              <a:gd name="T37" fmla="*/ 2316 h 2450"/>
              <a:gd name="T38" fmla="*/ 1698 w 1832"/>
              <a:gd name="T39" fmla="*/ 331 h 2450"/>
              <a:gd name="T40" fmla="*/ 926 w 1832"/>
              <a:gd name="T41" fmla="*/ 110 h 2450"/>
              <a:gd name="T42" fmla="*/ 926 w 1832"/>
              <a:gd name="T43" fmla="*/ 419 h 2450"/>
              <a:gd name="T44" fmla="*/ 926 w 1832"/>
              <a:gd name="T45" fmla="*/ 110 h 2450"/>
              <a:gd name="T46" fmla="*/ 420 w 1832"/>
              <a:gd name="T47" fmla="*/ 485 h 2450"/>
              <a:gd name="T48" fmla="*/ 464 w 1832"/>
              <a:gd name="T49" fmla="*/ 639 h 2450"/>
              <a:gd name="T50" fmla="*/ 1412 w 1832"/>
              <a:gd name="T51" fmla="*/ 573 h 2450"/>
              <a:gd name="T52" fmla="*/ 1588 w 1832"/>
              <a:gd name="T53" fmla="*/ 485 h 2450"/>
              <a:gd name="T54" fmla="*/ 1654 w 1832"/>
              <a:gd name="T55" fmla="*/ 2228 h 2450"/>
              <a:gd name="T56" fmla="*/ 243 w 1832"/>
              <a:gd name="T57" fmla="*/ 2294 h 2450"/>
              <a:gd name="T58" fmla="*/ 177 w 1832"/>
              <a:gd name="T59" fmla="*/ 551 h 2450"/>
              <a:gd name="T60" fmla="*/ 420 w 1832"/>
              <a:gd name="T61" fmla="*/ 485 h 2450"/>
              <a:gd name="T62" fmla="*/ 926 w 1832"/>
              <a:gd name="T63" fmla="*/ 992 h 2450"/>
              <a:gd name="T64" fmla="*/ 1500 w 1832"/>
              <a:gd name="T65" fmla="*/ 882 h 2450"/>
              <a:gd name="T66" fmla="*/ 1500 w 1832"/>
              <a:gd name="T67" fmla="*/ 1478 h 2450"/>
              <a:gd name="T68" fmla="*/ 926 w 1832"/>
              <a:gd name="T69" fmla="*/ 1367 h 2450"/>
              <a:gd name="T70" fmla="*/ 1500 w 1832"/>
              <a:gd name="T71" fmla="*/ 1478 h 2450"/>
              <a:gd name="T72" fmla="*/ 926 w 1832"/>
              <a:gd name="T73" fmla="*/ 1963 h 2450"/>
              <a:gd name="T74" fmla="*/ 1500 w 1832"/>
              <a:gd name="T75" fmla="*/ 1853 h 24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832" h="2450">
                <a:moveTo>
                  <a:pt x="485" y="1014"/>
                </a:moveTo>
                <a:lnTo>
                  <a:pt x="397" y="904"/>
                </a:lnTo>
                <a:lnTo>
                  <a:pt x="332" y="970"/>
                </a:lnTo>
                <a:lnTo>
                  <a:pt x="485" y="1125"/>
                </a:lnTo>
                <a:lnTo>
                  <a:pt x="772" y="882"/>
                </a:lnTo>
                <a:lnTo>
                  <a:pt x="705" y="816"/>
                </a:lnTo>
                <a:lnTo>
                  <a:pt x="485" y="1014"/>
                </a:lnTo>
                <a:close/>
                <a:moveTo>
                  <a:pt x="485" y="1478"/>
                </a:moveTo>
                <a:lnTo>
                  <a:pt x="397" y="1390"/>
                </a:lnTo>
                <a:lnTo>
                  <a:pt x="332" y="1456"/>
                </a:lnTo>
                <a:lnTo>
                  <a:pt x="485" y="1610"/>
                </a:lnTo>
                <a:lnTo>
                  <a:pt x="772" y="1367"/>
                </a:lnTo>
                <a:lnTo>
                  <a:pt x="705" y="1302"/>
                </a:lnTo>
                <a:lnTo>
                  <a:pt x="485" y="1478"/>
                </a:lnTo>
                <a:close/>
                <a:moveTo>
                  <a:pt x="485" y="1963"/>
                </a:moveTo>
                <a:lnTo>
                  <a:pt x="397" y="1875"/>
                </a:lnTo>
                <a:lnTo>
                  <a:pt x="332" y="1941"/>
                </a:lnTo>
                <a:lnTo>
                  <a:pt x="485" y="2096"/>
                </a:lnTo>
                <a:lnTo>
                  <a:pt x="772" y="1853"/>
                </a:lnTo>
                <a:lnTo>
                  <a:pt x="705" y="1787"/>
                </a:lnTo>
                <a:lnTo>
                  <a:pt x="485" y="1963"/>
                </a:lnTo>
                <a:close/>
                <a:moveTo>
                  <a:pt x="1698" y="331"/>
                </a:moveTo>
                <a:lnTo>
                  <a:pt x="1698" y="331"/>
                </a:lnTo>
                <a:lnTo>
                  <a:pt x="1412" y="331"/>
                </a:lnTo>
                <a:lnTo>
                  <a:pt x="1412" y="264"/>
                </a:lnTo>
                <a:cubicBezTo>
                  <a:pt x="1412" y="243"/>
                  <a:pt x="1390" y="220"/>
                  <a:pt x="1367" y="220"/>
                </a:cubicBezTo>
                <a:lnTo>
                  <a:pt x="1169" y="220"/>
                </a:lnTo>
                <a:cubicBezTo>
                  <a:pt x="1147" y="66"/>
                  <a:pt x="1014" y="0"/>
                  <a:pt x="926" y="0"/>
                </a:cubicBezTo>
                <a:cubicBezTo>
                  <a:pt x="816" y="0"/>
                  <a:pt x="684" y="66"/>
                  <a:pt x="661" y="220"/>
                </a:cubicBezTo>
                <a:lnTo>
                  <a:pt x="464" y="220"/>
                </a:lnTo>
                <a:cubicBezTo>
                  <a:pt x="442" y="220"/>
                  <a:pt x="420" y="243"/>
                  <a:pt x="420" y="264"/>
                </a:cubicBezTo>
                <a:lnTo>
                  <a:pt x="420" y="331"/>
                </a:lnTo>
                <a:lnTo>
                  <a:pt x="132" y="331"/>
                </a:lnTo>
                <a:cubicBezTo>
                  <a:pt x="67" y="331"/>
                  <a:pt x="0" y="396"/>
                  <a:pt x="0" y="463"/>
                </a:cubicBezTo>
                <a:lnTo>
                  <a:pt x="0" y="2316"/>
                </a:lnTo>
                <a:cubicBezTo>
                  <a:pt x="0" y="2383"/>
                  <a:pt x="67" y="2449"/>
                  <a:pt x="132" y="2449"/>
                </a:cubicBezTo>
                <a:lnTo>
                  <a:pt x="1698" y="2449"/>
                </a:lnTo>
                <a:cubicBezTo>
                  <a:pt x="1765" y="2449"/>
                  <a:pt x="1831" y="2383"/>
                  <a:pt x="1831" y="2316"/>
                </a:cubicBezTo>
                <a:lnTo>
                  <a:pt x="1831" y="463"/>
                </a:lnTo>
                <a:cubicBezTo>
                  <a:pt x="1831" y="396"/>
                  <a:pt x="1765" y="331"/>
                  <a:pt x="1698" y="331"/>
                </a:cubicBezTo>
                <a:close/>
                <a:moveTo>
                  <a:pt x="926" y="110"/>
                </a:moveTo>
                <a:lnTo>
                  <a:pt x="926" y="110"/>
                </a:lnTo>
                <a:cubicBezTo>
                  <a:pt x="992" y="110"/>
                  <a:pt x="1058" y="176"/>
                  <a:pt x="1058" y="264"/>
                </a:cubicBezTo>
                <a:cubicBezTo>
                  <a:pt x="1058" y="353"/>
                  <a:pt x="992" y="419"/>
                  <a:pt x="926" y="419"/>
                </a:cubicBezTo>
                <a:cubicBezTo>
                  <a:pt x="837" y="419"/>
                  <a:pt x="772" y="353"/>
                  <a:pt x="772" y="264"/>
                </a:cubicBezTo>
                <a:cubicBezTo>
                  <a:pt x="772" y="176"/>
                  <a:pt x="837" y="110"/>
                  <a:pt x="926" y="110"/>
                </a:cubicBezTo>
                <a:close/>
                <a:moveTo>
                  <a:pt x="420" y="485"/>
                </a:moveTo>
                <a:lnTo>
                  <a:pt x="420" y="485"/>
                </a:lnTo>
                <a:cubicBezTo>
                  <a:pt x="420" y="573"/>
                  <a:pt x="420" y="543"/>
                  <a:pt x="420" y="573"/>
                </a:cubicBezTo>
                <a:cubicBezTo>
                  <a:pt x="420" y="617"/>
                  <a:pt x="442" y="639"/>
                  <a:pt x="464" y="639"/>
                </a:cubicBezTo>
                <a:lnTo>
                  <a:pt x="1367" y="639"/>
                </a:lnTo>
                <a:cubicBezTo>
                  <a:pt x="1390" y="639"/>
                  <a:pt x="1412" y="617"/>
                  <a:pt x="1412" y="573"/>
                </a:cubicBezTo>
                <a:cubicBezTo>
                  <a:pt x="1412" y="485"/>
                  <a:pt x="1412" y="514"/>
                  <a:pt x="1412" y="485"/>
                </a:cubicBezTo>
                <a:lnTo>
                  <a:pt x="1588" y="485"/>
                </a:lnTo>
                <a:cubicBezTo>
                  <a:pt x="1632" y="485"/>
                  <a:pt x="1654" y="529"/>
                  <a:pt x="1654" y="551"/>
                </a:cubicBezTo>
                <a:lnTo>
                  <a:pt x="1654" y="2228"/>
                </a:lnTo>
                <a:cubicBezTo>
                  <a:pt x="1654" y="2272"/>
                  <a:pt x="1632" y="2294"/>
                  <a:pt x="1588" y="2294"/>
                </a:cubicBezTo>
                <a:lnTo>
                  <a:pt x="243" y="2294"/>
                </a:lnTo>
                <a:cubicBezTo>
                  <a:pt x="199" y="2294"/>
                  <a:pt x="177" y="2272"/>
                  <a:pt x="177" y="2228"/>
                </a:cubicBezTo>
                <a:lnTo>
                  <a:pt x="177" y="551"/>
                </a:lnTo>
                <a:cubicBezTo>
                  <a:pt x="177" y="529"/>
                  <a:pt x="199" y="485"/>
                  <a:pt x="243" y="485"/>
                </a:cubicBezTo>
                <a:lnTo>
                  <a:pt x="420" y="485"/>
                </a:lnTo>
                <a:close/>
                <a:moveTo>
                  <a:pt x="1500" y="992"/>
                </a:moveTo>
                <a:lnTo>
                  <a:pt x="926" y="992"/>
                </a:lnTo>
                <a:lnTo>
                  <a:pt x="926" y="882"/>
                </a:lnTo>
                <a:lnTo>
                  <a:pt x="1500" y="882"/>
                </a:lnTo>
                <a:lnTo>
                  <a:pt x="1500" y="992"/>
                </a:lnTo>
                <a:close/>
                <a:moveTo>
                  <a:pt x="1500" y="1478"/>
                </a:moveTo>
                <a:lnTo>
                  <a:pt x="926" y="1478"/>
                </a:lnTo>
                <a:lnTo>
                  <a:pt x="926" y="1367"/>
                </a:lnTo>
                <a:lnTo>
                  <a:pt x="1500" y="1367"/>
                </a:lnTo>
                <a:lnTo>
                  <a:pt x="1500" y="1478"/>
                </a:lnTo>
                <a:close/>
                <a:moveTo>
                  <a:pt x="1500" y="1963"/>
                </a:moveTo>
                <a:lnTo>
                  <a:pt x="926" y="1963"/>
                </a:lnTo>
                <a:lnTo>
                  <a:pt x="926" y="1853"/>
                </a:lnTo>
                <a:lnTo>
                  <a:pt x="1500" y="1853"/>
                </a:lnTo>
                <a:lnTo>
                  <a:pt x="1500" y="1963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3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>
              <a:solidFill>
                <a:prstClr val="black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258666" y="3076734"/>
            <a:ext cx="26266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solidFill>
                  <a:prstClr val="white">
                    <a:lumMod val="65000"/>
                  </a:prstClr>
                </a:solidFill>
                <a:latin typeface="Helvetica" panose="020B0604020202020204" pitchFamily="34" charset="0"/>
                <a:ea typeface="Graphik Semibold" charset="0"/>
                <a:cs typeface="Helvetica" panose="020B0604020202020204" pitchFamily="34" charset="0"/>
              </a:rPr>
              <a:t>TEST</a:t>
            </a:r>
          </a:p>
          <a:p>
            <a:pPr algn="ctr"/>
            <a:r>
              <a:rPr lang="en-US" dirty="0">
                <a:solidFill>
                  <a:prstClr val="white">
                    <a:lumMod val="65000"/>
                  </a:prstClr>
                </a:solidFill>
                <a:latin typeface="Helvetica" panose="020B0604020202020204" pitchFamily="34" charset="0"/>
                <a:ea typeface="Graphik Light" charset="0"/>
                <a:cs typeface="Helvetica" panose="020B0604020202020204" pitchFamily="34" charset="0"/>
              </a:rPr>
              <a:t>the most promising urban policies and programs</a:t>
            </a:r>
            <a:endParaRPr lang="en-US" b="1" dirty="0">
              <a:solidFill>
                <a:prstClr val="white">
                  <a:lumMod val="65000"/>
                </a:prstClr>
              </a:solidFill>
              <a:latin typeface="Helvetica" panose="020B0604020202020204" pitchFamily="34" charset="0"/>
              <a:ea typeface="Graphik Semibold" charset="0"/>
              <a:cs typeface="Helvetica" panose="020B0604020202020204" pitchFamily="34" charset="0"/>
            </a:endParaRPr>
          </a:p>
        </p:txBody>
      </p:sp>
      <p:sp>
        <p:nvSpPr>
          <p:cNvPr id="19" name="Freeform 17"/>
          <p:cNvSpPr>
            <a:spLocks noChangeArrowheads="1"/>
          </p:cNvSpPr>
          <p:nvPr/>
        </p:nvSpPr>
        <p:spPr bwMode="auto">
          <a:xfrm>
            <a:off x="6991274" y="1859200"/>
            <a:ext cx="867388" cy="963764"/>
          </a:xfrm>
          <a:custGeom>
            <a:avLst/>
            <a:gdLst>
              <a:gd name="T0" fmla="*/ 0 w 2163"/>
              <a:gd name="T1" fmla="*/ 0 h 2164"/>
              <a:gd name="T2" fmla="*/ 0 w 2163"/>
              <a:gd name="T3" fmla="*/ 1081 h 2164"/>
              <a:gd name="T4" fmla="*/ 221 w 2163"/>
              <a:gd name="T5" fmla="*/ 1081 h 2164"/>
              <a:gd name="T6" fmla="*/ 221 w 2163"/>
              <a:gd name="T7" fmla="*/ 221 h 2164"/>
              <a:gd name="T8" fmla="*/ 1942 w 2163"/>
              <a:gd name="T9" fmla="*/ 221 h 2164"/>
              <a:gd name="T10" fmla="*/ 1942 w 2163"/>
              <a:gd name="T11" fmla="*/ 1942 h 2164"/>
              <a:gd name="T12" fmla="*/ 1081 w 2163"/>
              <a:gd name="T13" fmla="*/ 1942 h 2164"/>
              <a:gd name="T14" fmla="*/ 1081 w 2163"/>
              <a:gd name="T15" fmla="*/ 2163 h 2164"/>
              <a:gd name="T16" fmla="*/ 2162 w 2163"/>
              <a:gd name="T17" fmla="*/ 2163 h 2164"/>
              <a:gd name="T18" fmla="*/ 2162 w 2163"/>
              <a:gd name="T19" fmla="*/ 0 h 2164"/>
              <a:gd name="T20" fmla="*/ 0 w 2163"/>
              <a:gd name="T21" fmla="*/ 0 h 2164"/>
              <a:gd name="T22" fmla="*/ 1721 w 2163"/>
              <a:gd name="T23" fmla="*/ 971 h 2164"/>
              <a:gd name="T24" fmla="*/ 1721 w 2163"/>
              <a:gd name="T25" fmla="*/ 442 h 2164"/>
              <a:gd name="T26" fmla="*/ 1191 w 2163"/>
              <a:gd name="T27" fmla="*/ 442 h 2164"/>
              <a:gd name="T28" fmla="*/ 1390 w 2163"/>
              <a:gd name="T29" fmla="*/ 618 h 2164"/>
              <a:gd name="T30" fmla="*/ 905 w 2163"/>
              <a:gd name="T31" fmla="*/ 1104 h 2164"/>
              <a:gd name="T32" fmla="*/ 1059 w 2163"/>
              <a:gd name="T33" fmla="*/ 1258 h 2164"/>
              <a:gd name="T34" fmla="*/ 1523 w 2163"/>
              <a:gd name="T35" fmla="*/ 773 h 2164"/>
              <a:gd name="T36" fmla="*/ 1721 w 2163"/>
              <a:gd name="T37" fmla="*/ 971 h 2164"/>
              <a:gd name="T38" fmla="*/ 0 w 2163"/>
              <a:gd name="T39" fmla="*/ 1302 h 2164"/>
              <a:gd name="T40" fmla="*/ 861 w 2163"/>
              <a:gd name="T41" fmla="*/ 1302 h 2164"/>
              <a:gd name="T42" fmla="*/ 861 w 2163"/>
              <a:gd name="T43" fmla="*/ 2163 h 2164"/>
              <a:gd name="T44" fmla="*/ 0 w 2163"/>
              <a:gd name="T45" fmla="*/ 2163 h 2164"/>
              <a:gd name="T46" fmla="*/ 0 w 2163"/>
              <a:gd name="T47" fmla="*/ 1302 h 2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163" h="2164">
                <a:moveTo>
                  <a:pt x="0" y="0"/>
                </a:moveTo>
                <a:lnTo>
                  <a:pt x="0" y="1081"/>
                </a:lnTo>
                <a:lnTo>
                  <a:pt x="221" y="1081"/>
                </a:lnTo>
                <a:lnTo>
                  <a:pt x="221" y="221"/>
                </a:lnTo>
                <a:lnTo>
                  <a:pt x="1942" y="221"/>
                </a:lnTo>
                <a:lnTo>
                  <a:pt x="1942" y="1942"/>
                </a:lnTo>
                <a:lnTo>
                  <a:pt x="1081" y="1942"/>
                </a:lnTo>
                <a:lnTo>
                  <a:pt x="1081" y="2163"/>
                </a:lnTo>
                <a:lnTo>
                  <a:pt x="2162" y="2163"/>
                </a:lnTo>
                <a:lnTo>
                  <a:pt x="2162" y="0"/>
                </a:lnTo>
                <a:lnTo>
                  <a:pt x="0" y="0"/>
                </a:lnTo>
                <a:close/>
                <a:moveTo>
                  <a:pt x="1721" y="971"/>
                </a:moveTo>
                <a:lnTo>
                  <a:pt x="1721" y="442"/>
                </a:lnTo>
                <a:lnTo>
                  <a:pt x="1191" y="442"/>
                </a:lnTo>
                <a:lnTo>
                  <a:pt x="1390" y="618"/>
                </a:lnTo>
                <a:lnTo>
                  <a:pt x="905" y="1104"/>
                </a:lnTo>
                <a:lnTo>
                  <a:pt x="1059" y="1258"/>
                </a:lnTo>
                <a:lnTo>
                  <a:pt x="1523" y="773"/>
                </a:lnTo>
                <a:lnTo>
                  <a:pt x="1721" y="971"/>
                </a:lnTo>
                <a:close/>
                <a:moveTo>
                  <a:pt x="0" y="1302"/>
                </a:moveTo>
                <a:lnTo>
                  <a:pt x="861" y="1302"/>
                </a:lnTo>
                <a:lnTo>
                  <a:pt x="861" y="2163"/>
                </a:lnTo>
                <a:lnTo>
                  <a:pt x="0" y="2163"/>
                </a:lnTo>
                <a:lnTo>
                  <a:pt x="0" y="1302"/>
                </a:lnTo>
                <a:close/>
              </a:path>
            </a:pathLst>
          </a:custGeom>
          <a:solidFill>
            <a:srgbClr val="8A002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prstClr val="black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111634" y="3076734"/>
            <a:ext cx="26266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solidFill>
                  <a:srgbClr val="8A0021"/>
                </a:solidFill>
                <a:latin typeface="Helvetica" panose="020B0604020202020204" pitchFamily="34" charset="0"/>
                <a:ea typeface="Graphik Semibold" charset="0"/>
                <a:cs typeface="Helvetica" panose="020B0604020202020204" pitchFamily="34" charset="0"/>
              </a:rPr>
              <a:t>SCALE UP</a:t>
            </a:r>
          </a:p>
          <a:p>
            <a:pPr algn="ctr"/>
            <a:r>
              <a:rPr lang="en-US" dirty="0">
                <a:solidFill>
                  <a:prstClr val="black">
                    <a:lumMod val="95000"/>
                    <a:lumOff val="5000"/>
                  </a:prstClr>
                </a:solidFill>
                <a:latin typeface="Helvetica" panose="020B0604020202020204" pitchFamily="34" charset="0"/>
                <a:ea typeface="Graphik Light" charset="0"/>
                <a:cs typeface="Helvetica" panose="020B0604020202020204" pitchFamily="34" charset="0"/>
              </a:rPr>
              <a:t>the most effective and cost-efficient policies and programs</a:t>
            </a:r>
            <a:endParaRPr lang="en-US" b="1" dirty="0">
              <a:solidFill>
                <a:prstClr val="black">
                  <a:lumMod val="95000"/>
                  <a:lumOff val="5000"/>
                </a:prstClr>
              </a:solidFill>
              <a:latin typeface="Helvetica" panose="020B0604020202020204" pitchFamily="34" charset="0"/>
              <a:ea typeface="Graphik Semibold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70386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/>
          <p:cNvGrpSpPr/>
          <p:nvPr/>
        </p:nvGrpSpPr>
        <p:grpSpPr>
          <a:xfrm>
            <a:off x="481659" y="2207522"/>
            <a:ext cx="1920296" cy="1794369"/>
            <a:chOff x="448707" y="1986768"/>
            <a:chExt cx="1920296" cy="1614932"/>
          </a:xfrm>
        </p:grpSpPr>
        <p:sp>
          <p:nvSpPr>
            <p:cNvPr id="6" name="Rectangle 5"/>
            <p:cNvSpPr/>
            <p:nvPr/>
          </p:nvSpPr>
          <p:spPr>
            <a:xfrm>
              <a:off x="448707" y="2936902"/>
              <a:ext cx="1920296" cy="6647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 smtClean="0">
                  <a:solidFill>
                    <a:srgbClr val="8A0021"/>
                  </a:solidFill>
                  <a:latin typeface="Helvetica" panose="020B0604020202020204" pitchFamily="34" charset="0"/>
                  <a:ea typeface="Graphik Semibold" charset="0"/>
                  <a:cs typeface="Helvetica" panose="020B0604020202020204" pitchFamily="34" charset="0"/>
                </a:rPr>
                <a:t>FIND OR DESIGN</a:t>
              </a:r>
            </a:p>
            <a:p>
              <a:pPr algn="ctr"/>
              <a:r>
                <a:rPr lang="en-US" sz="1400" b="1" dirty="0" smtClean="0">
                  <a:solidFill>
                    <a:srgbClr val="8A0021"/>
                  </a:solidFill>
                  <a:latin typeface="Helvetica" panose="020B0604020202020204" pitchFamily="34" charset="0"/>
                  <a:ea typeface="Graphik Semibold" charset="0"/>
                  <a:cs typeface="Helvetica" panose="020B0604020202020204" pitchFamily="34" charset="0"/>
                </a:rPr>
                <a:t>PROMISING PROGRAM</a:t>
              </a:r>
            </a:p>
          </p:txBody>
        </p:sp>
        <p:sp>
          <p:nvSpPr>
            <p:cNvPr id="21" name="Freeform 20"/>
            <p:cNvSpPr>
              <a:spLocks noChangeArrowheads="1"/>
            </p:cNvSpPr>
            <p:nvPr/>
          </p:nvSpPr>
          <p:spPr bwMode="auto">
            <a:xfrm>
              <a:off x="1049486" y="1986768"/>
              <a:ext cx="718738" cy="721754"/>
            </a:xfrm>
            <a:custGeom>
              <a:avLst/>
              <a:gdLst>
                <a:gd name="T0" fmla="*/ 2411 w 6307"/>
                <a:gd name="T1" fmla="*/ 4483 h 6333"/>
                <a:gd name="T2" fmla="*/ 2326 w 6307"/>
                <a:gd name="T3" fmla="*/ 4202 h 6333"/>
                <a:gd name="T4" fmla="*/ 1485 w 6307"/>
                <a:gd name="T5" fmla="*/ 3418 h 6333"/>
                <a:gd name="T6" fmla="*/ 28 w 6307"/>
                <a:gd name="T7" fmla="*/ 4987 h 6333"/>
                <a:gd name="T8" fmla="*/ 1430 w 6307"/>
                <a:gd name="T9" fmla="*/ 6249 h 6333"/>
                <a:gd name="T10" fmla="*/ 1597 w 6307"/>
                <a:gd name="T11" fmla="*/ 6025 h 6333"/>
                <a:gd name="T12" fmla="*/ 1205 w 6307"/>
                <a:gd name="T13" fmla="*/ 5352 h 6333"/>
                <a:gd name="T14" fmla="*/ 1934 w 6307"/>
                <a:gd name="T15" fmla="*/ 5716 h 6333"/>
                <a:gd name="T16" fmla="*/ 2214 w 6307"/>
                <a:gd name="T17" fmla="*/ 5492 h 6333"/>
                <a:gd name="T18" fmla="*/ 1514 w 6307"/>
                <a:gd name="T19" fmla="*/ 4763 h 6333"/>
                <a:gd name="T20" fmla="*/ 1822 w 6307"/>
                <a:gd name="T21" fmla="*/ 4455 h 6333"/>
                <a:gd name="T22" fmla="*/ 2578 w 6307"/>
                <a:gd name="T23" fmla="*/ 5128 h 6333"/>
                <a:gd name="T24" fmla="*/ 2803 w 6307"/>
                <a:gd name="T25" fmla="*/ 4847 h 6333"/>
                <a:gd name="T26" fmla="*/ 6250 w 6307"/>
                <a:gd name="T27" fmla="*/ 1318 h 6333"/>
                <a:gd name="T28" fmla="*/ 4989 w 6307"/>
                <a:gd name="T29" fmla="*/ 56 h 6333"/>
                <a:gd name="T30" fmla="*/ 3391 w 6307"/>
                <a:gd name="T31" fmla="*/ 1485 h 6333"/>
                <a:gd name="T32" fmla="*/ 3868 w 6307"/>
                <a:gd name="T33" fmla="*/ 2046 h 6333"/>
                <a:gd name="T34" fmla="*/ 4148 w 6307"/>
                <a:gd name="T35" fmla="*/ 2102 h 6333"/>
                <a:gd name="T36" fmla="*/ 4933 w 6307"/>
                <a:gd name="T37" fmla="*/ 2802 h 6333"/>
                <a:gd name="T38" fmla="*/ 5129 w 6307"/>
                <a:gd name="T39" fmla="*/ 2522 h 6333"/>
                <a:gd name="T40" fmla="*/ 4709 w 6307"/>
                <a:gd name="T41" fmla="*/ 1878 h 6333"/>
                <a:gd name="T42" fmla="*/ 5438 w 6307"/>
                <a:gd name="T43" fmla="*/ 2242 h 6333"/>
                <a:gd name="T44" fmla="*/ 5717 w 6307"/>
                <a:gd name="T45" fmla="*/ 2018 h 6333"/>
                <a:gd name="T46" fmla="*/ 5045 w 6307"/>
                <a:gd name="T47" fmla="*/ 1261 h 6333"/>
                <a:gd name="T48" fmla="*/ 5353 w 6307"/>
                <a:gd name="T49" fmla="*/ 953 h 6333"/>
                <a:gd name="T50" fmla="*/ 6110 w 6307"/>
                <a:gd name="T51" fmla="*/ 1654 h 6333"/>
                <a:gd name="T52" fmla="*/ 6250 w 6307"/>
                <a:gd name="T53" fmla="*/ 1318 h 6333"/>
                <a:gd name="T54" fmla="*/ 4989 w 6307"/>
                <a:gd name="T55" fmla="*/ 3811 h 6333"/>
                <a:gd name="T56" fmla="*/ 3672 w 6307"/>
                <a:gd name="T57" fmla="*/ 5015 h 6333"/>
                <a:gd name="T58" fmla="*/ 28 w 6307"/>
                <a:gd name="T59" fmla="*/ 1233 h 6333"/>
                <a:gd name="T60" fmla="*/ 1317 w 6307"/>
                <a:gd name="T61" fmla="*/ 28 h 6333"/>
                <a:gd name="T62" fmla="*/ 4989 w 6307"/>
                <a:gd name="T63" fmla="*/ 3811 h 6333"/>
                <a:gd name="T64" fmla="*/ 4484 w 6307"/>
                <a:gd name="T65" fmla="*/ 5716 h 6333"/>
                <a:gd name="T66" fmla="*/ 6278 w 6307"/>
                <a:gd name="T67" fmla="*/ 6192 h 6333"/>
                <a:gd name="T68" fmla="*/ 5550 w 6307"/>
                <a:gd name="T69" fmla="*/ 4483 h 6333"/>
                <a:gd name="T70" fmla="*/ 4484 w 6307"/>
                <a:gd name="T71" fmla="*/ 5716 h 6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307" h="6333">
                  <a:moveTo>
                    <a:pt x="2411" y="4483"/>
                  </a:moveTo>
                  <a:lnTo>
                    <a:pt x="2411" y="4483"/>
                  </a:lnTo>
                  <a:cubicBezTo>
                    <a:pt x="2326" y="4427"/>
                    <a:pt x="2326" y="4343"/>
                    <a:pt x="2354" y="4259"/>
                  </a:cubicBezTo>
                  <a:cubicBezTo>
                    <a:pt x="2354" y="4231"/>
                    <a:pt x="2354" y="4231"/>
                    <a:pt x="2326" y="4202"/>
                  </a:cubicBezTo>
                  <a:lnTo>
                    <a:pt x="1570" y="3418"/>
                  </a:lnTo>
                  <a:cubicBezTo>
                    <a:pt x="1542" y="3390"/>
                    <a:pt x="1514" y="3390"/>
                    <a:pt x="1485" y="3418"/>
                  </a:cubicBezTo>
                  <a:lnTo>
                    <a:pt x="28" y="4847"/>
                  </a:lnTo>
                  <a:cubicBezTo>
                    <a:pt x="0" y="4904"/>
                    <a:pt x="0" y="4959"/>
                    <a:pt x="28" y="4987"/>
                  </a:cubicBezTo>
                  <a:lnTo>
                    <a:pt x="1290" y="6249"/>
                  </a:lnTo>
                  <a:cubicBezTo>
                    <a:pt x="1345" y="6305"/>
                    <a:pt x="1402" y="6305"/>
                    <a:pt x="1430" y="6249"/>
                  </a:cubicBezTo>
                  <a:cubicBezTo>
                    <a:pt x="1597" y="6080"/>
                    <a:pt x="1541" y="6136"/>
                    <a:pt x="1597" y="6080"/>
                  </a:cubicBezTo>
                  <a:cubicBezTo>
                    <a:pt x="1626" y="6080"/>
                    <a:pt x="1626" y="6053"/>
                    <a:pt x="1597" y="6025"/>
                  </a:cubicBezTo>
                  <a:lnTo>
                    <a:pt x="1233" y="5660"/>
                  </a:lnTo>
                  <a:cubicBezTo>
                    <a:pt x="1149" y="5576"/>
                    <a:pt x="1149" y="5436"/>
                    <a:pt x="1205" y="5352"/>
                  </a:cubicBezTo>
                  <a:cubicBezTo>
                    <a:pt x="1290" y="5240"/>
                    <a:pt x="1457" y="5240"/>
                    <a:pt x="1542" y="5323"/>
                  </a:cubicBezTo>
                  <a:lnTo>
                    <a:pt x="1934" y="5716"/>
                  </a:lnTo>
                  <a:lnTo>
                    <a:pt x="1990" y="5716"/>
                  </a:lnTo>
                  <a:lnTo>
                    <a:pt x="2214" y="5492"/>
                  </a:lnTo>
                  <a:lnTo>
                    <a:pt x="2214" y="5436"/>
                  </a:lnTo>
                  <a:lnTo>
                    <a:pt x="1514" y="4763"/>
                  </a:lnTo>
                  <a:cubicBezTo>
                    <a:pt x="1430" y="4680"/>
                    <a:pt x="1430" y="4567"/>
                    <a:pt x="1485" y="4483"/>
                  </a:cubicBezTo>
                  <a:cubicBezTo>
                    <a:pt x="1570" y="4343"/>
                    <a:pt x="1738" y="4343"/>
                    <a:pt x="1822" y="4455"/>
                  </a:cubicBezTo>
                  <a:lnTo>
                    <a:pt x="2523" y="5128"/>
                  </a:lnTo>
                  <a:cubicBezTo>
                    <a:pt x="2523" y="5156"/>
                    <a:pt x="2551" y="5156"/>
                    <a:pt x="2578" y="5128"/>
                  </a:cubicBezTo>
                  <a:lnTo>
                    <a:pt x="2803" y="4932"/>
                  </a:lnTo>
                  <a:lnTo>
                    <a:pt x="2803" y="4847"/>
                  </a:lnTo>
                  <a:lnTo>
                    <a:pt x="2411" y="4483"/>
                  </a:lnTo>
                  <a:close/>
                  <a:moveTo>
                    <a:pt x="6250" y="1318"/>
                  </a:moveTo>
                  <a:lnTo>
                    <a:pt x="6250" y="1318"/>
                  </a:lnTo>
                  <a:lnTo>
                    <a:pt x="4989" y="56"/>
                  </a:lnTo>
                  <a:cubicBezTo>
                    <a:pt x="4961" y="0"/>
                    <a:pt x="4905" y="0"/>
                    <a:pt x="4848" y="56"/>
                  </a:cubicBezTo>
                  <a:lnTo>
                    <a:pt x="3391" y="1485"/>
                  </a:lnTo>
                  <a:lnTo>
                    <a:pt x="3391" y="1570"/>
                  </a:lnTo>
                  <a:lnTo>
                    <a:pt x="3868" y="2046"/>
                  </a:lnTo>
                  <a:lnTo>
                    <a:pt x="3924" y="2046"/>
                  </a:lnTo>
                  <a:cubicBezTo>
                    <a:pt x="4008" y="2018"/>
                    <a:pt x="4092" y="2046"/>
                    <a:pt x="4148" y="2102"/>
                  </a:cubicBezTo>
                  <a:lnTo>
                    <a:pt x="4848" y="2802"/>
                  </a:lnTo>
                  <a:cubicBezTo>
                    <a:pt x="4877" y="2829"/>
                    <a:pt x="4905" y="2829"/>
                    <a:pt x="4933" y="2802"/>
                  </a:cubicBezTo>
                  <a:lnTo>
                    <a:pt x="5129" y="2579"/>
                  </a:lnTo>
                  <a:cubicBezTo>
                    <a:pt x="5157" y="2579"/>
                    <a:pt x="5157" y="2551"/>
                    <a:pt x="5129" y="2522"/>
                  </a:cubicBezTo>
                  <a:lnTo>
                    <a:pt x="4736" y="2158"/>
                  </a:lnTo>
                  <a:cubicBezTo>
                    <a:pt x="4681" y="2074"/>
                    <a:pt x="4653" y="1962"/>
                    <a:pt x="4709" y="1878"/>
                  </a:cubicBezTo>
                  <a:cubicBezTo>
                    <a:pt x="4793" y="1737"/>
                    <a:pt x="4961" y="1737"/>
                    <a:pt x="5045" y="1849"/>
                  </a:cubicBezTo>
                  <a:lnTo>
                    <a:pt x="5438" y="2242"/>
                  </a:lnTo>
                  <a:lnTo>
                    <a:pt x="5521" y="2242"/>
                  </a:lnTo>
                  <a:lnTo>
                    <a:pt x="5717" y="2018"/>
                  </a:lnTo>
                  <a:cubicBezTo>
                    <a:pt x="5745" y="1990"/>
                    <a:pt x="5745" y="1962"/>
                    <a:pt x="5717" y="1962"/>
                  </a:cubicBezTo>
                  <a:lnTo>
                    <a:pt x="5045" y="1261"/>
                  </a:lnTo>
                  <a:cubicBezTo>
                    <a:pt x="4961" y="1177"/>
                    <a:pt x="4961" y="1065"/>
                    <a:pt x="5017" y="981"/>
                  </a:cubicBezTo>
                  <a:cubicBezTo>
                    <a:pt x="5101" y="841"/>
                    <a:pt x="5269" y="841"/>
                    <a:pt x="5353" y="953"/>
                  </a:cubicBezTo>
                  <a:lnTo>
                    <a:pt x="6054" y="1654"/>
                  </a:lnTo>
                  <a:lnTo>
                    <a:pt x="6110" y="1654"/>
                  </a:lnTo>
                  <a:lnTo>
                    <a:pt x="6278" y="1458"/>
                  </a:lnTo>
                  <a:cubicBezTo>
                    <a:pt x="6306" y="1429"/>
                    <a:pt x="6306" y="1373"/>
                    <a:pt x="6250" y="1318"/>
                  </a:cubicBezTo>
                  <a:close/>
                  <a:moveTo>
                    <a:pt x="4989" y="3811"/>
                  </a:moveTo>
                  <a:lnTo>
                    <a:pt x="4989" y="3811"/>
                  </a:lnTo>
                  <a:lnTo>
                    <a:pt x="3784" y="5015"/>
                  </a:lnTo>
                  <a:cubicBezTo>
                    <a:pt x="3756" y="5044"/>
                    <a:pt x="3700" y="5044"/>
                    <a:pt x="3672" y="5015"/>
                  </a:cubicBezTo>
                  <a:lnTo>
                    <a:pt x="28" y="1345"/>
                  </a:lnTo>
                  <a:cubicBezTo>
                    <a:pt x="0" y="1318"/>
                    <a:pt x="0" y="1261"/>
                    <a:pt x="28" y="1233"/>
                  </a:cubicBezTo>
                  <a:lnTo>
                    <a:pt x="1233" y="28"/>
                  </a:lnTo>
                  <a:cubicBezTo>
                    <a:pt x="1261" y="0"/>
                    <a:pt x="1290" y="0"/>
                    <a:pt x="1317" y="28"/>
                  </a:cubicBezTo>
                  <a:lnTo>
                    <a:pt x="4989" y="3698"/>
                  </a:lnTo>
                  <a:lnTo>
                    <a:pt x="4989" y="3811"/>
                  </a:lnTo>
                  <a:close/>
                  <a:moveTo>
                    <a:pt x="4484" y="5716"/>
                  </a:moveTo>
                  <a:lnTo>
                    <a:pt x="4484" y="5716"/>
                  </a:lnTo>
                  <a:lnTo>
                    <a:pt x="6166" y="6305"/>
                  </a:lnTo>
                  <a:cubicBezTo>
                    <a:pt x="6250" y="6332"/>
                    <a:pt x="6306" y="6249"/>
                    <a:pt x="6278" y="6192"/>
                  </a:cubicBezTo>
                  <a:lnTo>
                    <a:pt x="5690" y="4511"/>
                  </a:lnTo>
                  <a:cubicBezTo>
                    <a:pt x="5690" y="4455"/>
                    <a:pt x="5605" y="4455"/>
                    <a:pt x="5550" y="4483"/>
                  </a:cubicBezTo>
                  <a:lnTo>
                    <a:pt x="4457" y="5576"/>
                  </a:lnTo>
                  <a:cubicBezTo>
                    <a:pt x="4400" y="5632"/>
                    <a:pt x="4429" y="5688"/>
                    <a:pt x="4484" y="5716"/>
                  </a:cubicBezTo>
                  <a:close/>
                </a:path>
              </a:pathLst>
            </a:custGeom>
            <a:solidFill>
              <a:srgbClr val="8A002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2631872" y="2067153"/>
            <a:ext cx="1948366" cy="1934735"/>
            <a:chOff x="2598920" y="1860438"/>
            <a:chExt cx="1948366" cy="1741261"/>
          </a:xfrm>
        </p:grpSpPr>
        <p:sp>
          <p:nvSpPr>
            <p:cNvPr id="17" name="Rectangle 16"/>
            <p:cNvSpPr/>
            <p:nvPr/>
          </p:nvSpPr>
          <p:spPr>
            <a:xfrm>
              <a:off x="2598920" y="2936902"/>
              <a:ext cx="1948366" cy="6647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 smtClean="0">
                  <a:solidFill>
                    <a:srgbClr val="8A0021"/>
                  </a:solidFill>
                  <a:latin typeface="Helvetica" panose="020B0604020202020204" pitchFamily="34" charset="0"/>
                  <a:ea typeface="Graphik Semibold" charset="0"/>
                  <a:cs typeface="Helvetica" panose="020B0604020202020204" pitchFamily="34" charset="0"/>
                </a:rPr>
                <a:t>STUDY IT AT SMALL/MODERATE</a:t>
              </a:r>
            </a:p>
            <a:p>
              <a:pPr algn="ctr"/>
              <a:r>
                <a:rPr lang="en-US" sz="1400" b="1" dirty="0" smtClean="0">
                  <a:solidFill>
                    <a:srgbClr val="8A0021"/>
                  </a:solidFill>
                  <a:latin typeface="Helvetica" panose="020B0604020202020204" pitchFamily="34" charset="0"/>
                  <a:ea typeface="Graphik Semibold" charset="0"/>
                  <a:cs typeface="Helvetica" panose="020B0604020202020204" pitchFamily="34" charset="0"/>
                </a:rPr>
                <a:t>SCALE</a:t>
              </a:r>
            </a:p>
          </p:txBody>
        </p:sp>
        <p:sp>
          <p:nvSpPr>
            <p:cNvPr id="22" name="Freeform 21"/>
            <p:cNvSpPr>
              <a:spLocks noChangeArrowheads="1"/>
            </p:cNvSpPr>
            <p:nvPr/>
          </p:nvSpPr>
          <p:spPr bwMode="auto">
            <a:xfrm>
              <a:off x="3263276" y="1860438"/>
              <a:ext cx="619654" cy="974414"/>
            </a:xfrm>
            <a:custGeom>
              <a:avLst/>
              <a:gdLst>
                <a:gd name="T0" fmla="*/ 1991 w 4654"/>
                <a:gd name="T1" fmla="*/ 5660 h 7315"/>
                <a:gd name="T2" fmla="*/ 0 w 4654"/>
                <a:gd name="T3" fmla="*/ 4932 h 7315"/>
                <a:gd name="T4" fmla="*/ 3672 w 4654"/>
                <a:gd name="T5" fmla="*/ 6557 h 7315"/>
                <a:gd name="T6" fmla="*/ 3841 w 4654"/>
                <a:gd name="T7" fmla="*/ 6389 h 7315"/>
                <a:gd name="T8" fmla="*/ 4148 w 4654"/>
                <a:gd name="T9" fmla="*/ 5941 h 7315"/>
                <a:gd name="T10" fmla="*/ 4373 w 4654"/>
                <a:gd name="T11" fmla="*/ 5436 h 7315"/>
                <a:gd name="T12" fmla="*/ 4513 w 4654"/>
                <a:gd name="T13" fmla="*/ 4875 h 7315"/>
                <a:gd name="T14" fmla="*/ 4513 w 4654"/>
                <a:gd name="T15" fmla="*/ 4623 h 7315"/>
                <a:gd name="T16" fmla="*/ 4485 w 4654"/>
                <a:gd name="T17" fmla="*/ 4231 h 7315"/>
                <a:gd name="T18" fmla="*/ 4429 w 4654"/>
                <a:gd name="T19" fmla="*/ 3923 h 7315"/>
                <a:gd name="T20" fmla="*/ 4317 w 4654"/>
                <a:gd name="T21" fmla="*/ 3588 h 7315"/>
                <a:gd name="T22" fmla="*/ 3981 w 4654"/>
                <a:gd name="T23" fmla="*/ 2999 h 7315"/>
                <a:gd name="T24" fmla="*/ 3504 w 4654"/>
                <a:gd name="T25" fmla="*/ 2522 h 7315"/>
                <a:gd name="T26" fmla="*/ 4093 w 4654"/>
                <a:gd name="T27" fmla="*/ 785 h 7315"/>
                <a:gd name="T28" fmla="*/ 4177 w 4654"/>
                <a:gd name="T29" fmla="*/ 337 h 7315"/>
                <a:gd name="T30" fmla="*/ 3392 w 4654"/>
                <a:gd name="T31" fmla="*/ 364 h 7315"/>
                <a:gd name="T32" fmla="*/ 1094 w 4654"/>
                <a:gd name="T33" fmla="*/ 4035 h 7315"/>
                <a:gd name="T34" fmla="*/ 1038 w 4654"/>
                <a:gd name="T35" fmla="*/ 4595 h 7315"/>
                <a:gd name="T36" fmla="*/ 1766 w 4654"/>
                <a:gd name="T37" fmla="*/ 4399 h 7315"/>
                <a:gd name="T38" fmla="*/ 2860 w 4654"/>
                <a:gd name="T39" fmla="*/ 2943 h 7315"/>
                <a:gd name="T40" fmla="*/ 3056 w 4654"/>
                <a:gd name="T41" fmla="*/ 3083 h 7315"/>
                <a:gd name="T42" fmla="*/ 3392 w 4654"/>
                <a:gd name="T43" fmla="*/ 3448 h 7315"/>
                <a:gd name="T44" fmla="*/ 3617 w 4654"/>
                <a:gd name="T45" fmla="*/ 3866 h 7315"/>
                <a:gd name="T46" fmla="*/ 3756 w 4654"/>
                <a:gd name="T47" fmla="*/ 4342 h 7315"/>
                <a:gd name="T48" fmla="*/ 3784 w 4654"/>
                <a:gd name="T49" fmla="*/ 4623 h 7315"/>
                <a:gd name="T50" fmla="*/ 3729 w 4654"/>
                <a:gd name="T51" fmla="*/ 4987 h 7315"/>
                <a:gd name="T52" fmla="*/ 3617 w 4654"/>
                <a:gd name="T53" fmla="*/ 5380 h 7315"/>
                <a:gd name="T54" fmla="*/ 3420 w 4654"/>
                <a:gd name="T55" fmla="*/ 5716 h 7315"/>
                <a:gd name="T56" fmla="*/ 3196 w 4654"/>
                <a:gd name="T57" fmla="*/ 5996 h 7315"/>
                <a:gd name="T58" fmla="*/ 2887 w 4654"/>
                <a:gd name="T59" fmla="*/ 6220 h 7315"/>
                <a:gd name="T60" fmla="*/ 2579 w 4654"/>
                <a:gd name="T61" fmla="*/ 6417 h 7315"/>
                <a:gd name="T62" fmla="*/ 2187 w 4654"/>
                <a:gd name="T63" fmla="*/ 6529 h 7315"/>
                <a:gd name="T64" fmla="*/ 1794 w 4654"/>
                <a:gd name="T65" fmla="*/ 6557 h 7315"/>
                <a:gd name="T66" fmla="*/ 197 w 4654"/>
                <a:gd name="T67" fmla="*/ 6557 h 7315"/>
                <a:gd name="T68" fmla="*/ 4653 w 4654"/>
                <a:gd name="T69" fmla="*/ 7314 h 7315"/>
                <a:gd name="T70" fmla="*/ 4653 w 4654"/>
                <a:gd name="T71" fmla="*/ 6557 h 7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654" h="7315">
                  <a:moveTo>
                    <a:pt x="169" y="4623"/>
                  </a:moveTo>
                  <a:lnTo>
                    <a:pt x="1991" y="5660"/>
                  </a:lnTo>
                  <a:lnTo>
                    <a:pt x="1794" y="5968"/>
                  </a:lnTo>
                  <a:lnTo>
                    <a:pt x="0" y="4932"/>
                  </a:lnTo>
                  <a:lnTo>
                    <a:pt x="169" y="4623"/>
                  </a:lnTo>
                  <a:close/>
                  <a:moveTo>
                    <a:pt x="3672" y="6557"/>
                  </a:moveTo>
                  <a:lnTo>
                    <a:pt x="3672" y="6557"/>
                  </a:lnTo>
                  <a:lnTo>
                    <a:pt x="3841" y="6389"/>
                  </a:lnTo>
                  <a:lnTo>
                    <a:pt x="4008" y="6165"/>
                  </a:lnTo>
                  <a:lnTo>
                    <a:pt x="4148" y="5941"/>
                  </a:lnTo>
                  <a:lnTo>
                    <a:pt x="4289" y="5689"/>
                  </a:lnTo>
                  <a:lnTo>
                    <a:pt x="4373" y="5436"/>
                  </a:lnTo>
                  <a:lnTo>
                    <a:pt x="4457" y="5184"/>
                  </a:lnTo>
                  <a:lnTo>
                    <a:pt x="4513" y="4875"/>
                  </a:lnTo>
                  <a:lnTo>
                    <a:pt x="4513" y="4623"/>
                  </a:lnTo>
                  <a:lnTo>
                    <a:pt x="4513" y="4623"/>
                  </a:lnTo>
                  <a:lnTo>
                    <a:pt x="4513" y="4427"/>
                  </a:lnTo>
                  <a:lnTo>
                    <a:pt x="4485" y="4231"/>
                  </a:lnTo>
                  <a:lnTo>
                    <a:pt x="4457" y="4090"/>
                  </a:lnTo>
                  <a:lnTo>
                    <a:pt x="4429" y="3923"/>
                  </a:lnTo>
                  <a:lnTo>
                    <a:pt x="4373" y="3754"/>
                  </a:lnTo>
                  <a:lnTo>
                    <a:pt x="4317" y="3588"/>
                  </a:lnTo>
                  <a:lnTo>
                    <a:pt x="4148" y="3279"/>
                  </a:lnTo>
                  <a:lnTo>
                    <a:pt x="3981" y="2999"/>
                  </a:lnTo>
                  <a:lnTo>
                    <a:pt x="3756" y="2719"/>
                  </a:lnTo>
                  <a:lnTo>
                    <a:pt x="3504" y="2522"/>
                  </a:lnTo>
                  <a:lnTo>
                    <a:pt x="3224" y="2298"/>
                  </a:lnTo>
                  <a:lnTo>
                    <a:pt x="4093" y="785"/>
                  </a:lnTo>
                  <a:lnTo>
                    <a:pt x="3981" y="701"/>
                  </a:lnTo>
                  <a:lnTo>
                    <a:pt x="4177" y="337"/>
                  </a:lnTo>
                  <a:lnTo>
                    <a:pt x="3617" y="0"/>
                  </a:lnTo>
                  <a:lnTo>
                    <a:pt x="3392" y="364"/>
                  </a:lnTo>
                  <a:lnTo>
                    <a:pt x="3252" y="309"/>
                  </a:lnTo>
                  <a:lnTo>
                    <a:pt x="1094" y="4035"/>
                  </a:lnTo>
                  <a:lnTo>
                    <a:pt x="1290" y="4147"/>
                  </a:lnTo>
                  <a:lnTo>
                    <a:pt x="1038" y="4595"/>
                  </a:lnTo>
                  <a:lnTo>
                    <a:pt x="1514" y="4875"/>
                  </a:lnTo>
                  <a:lnTo>
                    <a:pt x="1766" y="4399"/>
                  </a:lnTo>
                  <a:lnTo>
                    <a:pt x="1935" y="4511"/>
                  </a:lnTo>
                  <a:lnTo>
                    <a:pt x="2860" y="2943"/>
                  </a:lnTo>
                  <a:lnTo>
                    <a:pt x="2860" y="2943"/>
                  </a:lnTo>
                  <a:lnTo>
                    <a:pt x="3056" y="3083"/>
                  </a:lnTo>
                  <a:lnTo>
                    <a:pt x="3252" y="3251"/>
                  </a:lnTo>
                  <a:lnTo>
                    <a:pt x="3392" y="3448"/>
                  </a:lnTo>
                  <a:lnTo>
                    <a:pt x="3504" y="3643"/>
                  </a:lnTo>
                  <a:lnTo>
                    <a:pt x="3617" y="3866"/>
                  </a:lnTo>
                  <a:lnTo>
                    <a:pt x="3700" y="4090"/>
                  </a:lnTo>
                  <a:lnTo>
                    <a:pt x="3756" y="4342"/>
                  </a:lnTo>
                  <a:lnTo>
                    <a:pt x="3784" y="4623"/>
                  </a:lnTo>
                  <a:lnTo>
                    <a:pt x="3784" y="4623"/>
                  </a:lnTo>
                  <a:lnTo>
                    <a:pt x="3756" y="4820"/>
                  </a:lnTo>
                  <a:lnTo>
                    <a:pt x="3729" y="4987"/>
                  </a:lnTo>
                  <a:lnTo>
                    <a:pt x="3672" y="5184"/>
                  </a:lnTo>
                  <a:lnTo>
                    <a:pt x="3617" y="5380"/>
                  </a:lnTo>
                  <a:lnTo>
                    <a:pt x="3532" y="5548"/>
                  </a:lnTo>
                  <a:lnTo>
                    <a:pt x="3420" y="5716"/>
                  </a:lnTo>
                  <a:lnTo>
                    <a:pt x="3308" y="5856"/>
                  </a:lnTo>
                  <a:lnTo>
                    <a:pt x="3196" y="5996"/>
                  </a:lnTo>
                  <a:lnTo>
                    <a:pt x="3056" y="6137"/>
                  </a:lnTo>
                  <a:lnTo>
                    <a:pt x="2887" y="6220"/>
                  </a:lnTo>
                  <a:lnTo>
                    <a:pt x="2720" y="6332"/>
                  </a:lnTo>
                  <a:lnTo>
                    <a:pt x="2579" y="6417"/>
                  </a:lnTo>
                  <a:lnTo>
                    <a:pt x="2383" y="6473"/>
                  </a:lnTo>
                  <a:lnTo>
                    <a:pt x="2187" y="6529"/>
                  </a:lnTo>
                  <a:lnTo>
                    <a:pt x="1991" y="6557"/>
                  </a:lnTo>
                  <a:lnTo>
                    <a:pt x="1794" y="6557"/>
                  </a:lnTo>
                  <a:lnTo>
                    <a:pt x="1794" y="6557"/>
                  </a:lnTo>
                  <a:lnTo>
                    <a:pt x="197" y="6557"/>
                  </a:lnTo>
                  <a:lnTo>
                    <a:pt x="197" y="7314"/>
                  </a:lnTo>
                  <a:lnTo>
                    <a:pt x="4653" y="7314"/>
                  </a:lnTo>
                  <a:lnTo>
                    <a:pt x="4653" y="6557"/>
                  </a:lnTo>
                  <a:lnTo>
                    <a:pt x="4653" y="6557"/>
                  </a:lnTo>
                  <a:lnTo>
                    <a:pt x="3672" y="6557"/>
                  </a:lnTo>
                  <a:close/>
                </a:path>
              </a:pathLst>
            </a:custGeom>
            <a:solidFill>
              <a:srgbClr val="8A002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4849507" y="1995387"/>
            <a:ext cx="1724678" cy="1791055"/>
            <a:chOff x="4816555" y="1795849"/>
            <a:chExt cx="1724678" cy="1611951"/>
          </a:xfrm>
        </p:grpSpPr>
        <p:sp>
          <p:nvSpPr>
            <p:cNvPr id="19" name="Rectangle 18"/>
            <p:cNvSpPr/>
            <p:nvPr/>
          </p:nvSpPr>
          <p:spPr>
            <a:xfrm>
              <a:off x="4816555" y="2936902"/>
              <a:ext cx="1724678" cy="4708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 smtClean="0">
                  <a:solidFill>
                    <a:srgbClr val="8A0021"/>
                  </a:solidFill>
                  <a:latin typeface="Helvetica" panose="020B0604020202020204" pitchFamily="34" charset="0"/>
                  <a:ea typeface="Graphik Semibold" charset="0"/>
                  <a:cs typeface="Helvetica" panose="020B0604020202020204" pitchFamily="34" charset="0"/>
                </a:rPr>
                <a:t>DISSEMINATE</a:t>
              </a:r>
            </a:p>
            <a:p>
              <a:pPr algn="ctr"/>
              <a:r>
                <a:rPr lang="en-US" sz="1400" b="1" dirty="0" smtClean="0">
                  <a:solidFill>
                    <a:srgbClr val="8A0021"/>
                  </a:solidFill>
                  <a:latin typeface="Helvetica" panose="020B0604020202020204" pitchFamily="34" charset="0"/>
                  <a:ea typeface="Graphik Semibold" charset="0"/>
                  <a:cs typeface="Helvetica" panose="020B0604020202020204" pitchFamily="34" charset="0"/>
                </a:rPr>
                <a:t>FINDINGS</a:t>
              </a:r>
            </a:p>
          </p:txBody>
        </p:sp>
        <p:sp>
          <p:nvSpPr>
            <p:cNvPr id="23" name="Freeform 22"/>
            <p:cNvSpPr>
              <a:spLocks noChangeArrowheads="1"/>
            </p:cNvSpPr>
            <p:nvPr/>
          </p:nvSpPr>
          <p:spPr bwMode="auto">
            <a:xfrm>
              <a:off x="5377982" y="1795849"/>
              <a:ext cx="601824" cy="1103592"/>
            </a:xfrm>
            <a:custGeom>
              <a:avLst/>
              <a:gdLst>
                <a:gd name="T0" fmla="*/ 477 w 5410"/>
                <a:gd name="T1" fmla="*/ 3980 h 9921"/>
                <a:gd name="T2" fmla="*/ 4148 w 5410"/>
                <a:gd name="T3" fmla="*/ 785 h 9921"/>
                <a:gd name="T4" fmla="*/ 3700 w 5410"/>
                <a:gd name="T5" fmla="*/ 2494 h 9921"/>
                <a:gd name="T6" fmla="*/ 1234 w 5410"/>
                <a:gd name="T7" fmla="*/ 785 h 9921"/>
                <a:gd name="T8" fmla="*/ 5382 w 5410"/>
                <a:gd name="T9" fmla="*/ 9360 h 9921"/>
                <a:gd name="T10" fmla="*/ 4653 w 5410"/>
                <a:gd name="T11" fmla="*/ 8379 h 9921"/>
                <a:gd name="T12" fmla="*/ 4009 w 5410"/>
                <a:gd name="T13" fmla="*/ 7033 h 9921"/>
                <a:gd name="T14" fmla="*/ 3504 w 5410"/>
                <a:gd name="T15" fmla="*/ 5604 h 9921"/>
                <a:gd name="T16" fmla="*/ 3112 w 5410"/>
                <a:gd name="T17" fmla="*/ 4063 h 9921"/>
                <a:gd name="T18" fmla="*/ 2943 w 5410"/>
                <a:gd name="T19" fmla="*/ 2747 h 9921"/>
                <a:gd name="T20" fmla="*/ 3224 w 5410"/>
                <a:gd name="T21" fmla="*/ 2550 h 9921"/>
                <a:gd name="T22" fmla="*/ 3364 w 5410"/>
                <a:gd name="T23" fmla="*/ 2270 h 9921"/>
                <a:gd name="T24" fmla="*/ 3392 w 5410"/>
                <a:gd name="T25" fmla="*/ 1962 h 9921"/>
                <a:gd name="T26" fmla="*/ 3196 w 5410"/>
                <a:gd name="T27" fmla="*/ 1597 h 9921"/>
                <a:gd name="T28" fmla="*/ 2831 w 5410"/>
                <a:gd name="T29" fmla="*/ 1429 h 9921"/>
                <a:gd name="T30" fmla="*/ 2495 w 5410"/>
                <a:gd name="T31" fmla="*/ 1429 h 9921"/>
                <a:gd name="T32" fmla="*/ 2187 w 5410"/>
                <a:gd name="T33" fmla="*/ 1654 h 9921"/>
                <a:gd name="T34" fmla="*/ 2018 w 5410"/>
                <a:gd name="T35" fmla="*/ 2018 h 9921"/>
                <a:gd name="T36" fmla="*/ 2046 w 5410"/>
                <a:gd name="T37" fmla="*/ 2326 h 9921"/>
                <a:gd name="T38" fmla="*/ 2243 w 5410"/>
                <a:gd name="T39" fmla="*/ 2606 h 9921"/>
                <a:gd name="T40" fmla="*/ 2523 w 5410"/>
                <a:gd name="T41" fmla="*/ 2775 h 9921"/>
                <a:gd name="T42" fmla="*/ 2243 w 5410"/>
                <a:gd name="T43" fmla="*/ 4344 h 9921"/>
                <a:gd name="T44" fmla="*/ 1627 w 5410"/>
                <a:gd name="T45" fmla="*/ 6445 h 9921"/>
                <a:gd name="T46" fmla="*/ 1178 w 5410"/>
                <a:gd name="T47" fmla="*/ 7537 h 9921"/>
                <a:gd name="T48" fmla="*/ 1009 w 5410"/>
                <a:gd name="T49" fmla="*/ 7902 h 9921"/>
                <a:gd name="T50" fmla="*/ 757 w 5410"/>
                <a:gd name="T51" fmla="*/ 8351 h 9921"/>
                <a:gd name="T52" fmla="*/ 28 w 5410"/>
                <a:gd name="T53" fmla="*/ 9360 h 9921"/>
                <a:gd name="T54" fmla="*/ 0 w 5410"/>
                <a:gd name="T55" fmla="*/ 9443 h 9921"/>
                <a:gd name="T56" fmla="*/ 57 w 5410"/>
                <a:gd name="T57" fmla="*/ 9527 h 9921"/>
                <a:gd name="T58" fmla="*/ 169 w 5410"/>
                <a:gd name="T59" fmla="*/ 9527 h 9921"/>
                <a:gd name="T60" fmla="*/ 2635 w 5410"/>
                <a:gd name="T61" fmla="*/ 9891 h 9921"/>
                <a:gd name="T62" fmla="*/ 2663 w 5410"/>
                <a:gd name="T63" fmla="*/ 9891 h 9921"/>
                <a:gd name="T64" fmla="*/ 2691 w 5410"/>
                <a:gd name="T65" fmla="*/ 9920 h 9921"/>
                <a:gd name="T66" fmla="*/ 2748 w 5410"/>
                <a:gd name="T67" fmla="*/ 9920 h 9921"/>
                <a:gd name="T68" fmla="*/ 2775 w 5410"/>
                <a:gd name="T69" fmla="*/ 9891 h 9921"/>
                <a:gd name="T70" fmla="*/ 3757 w 5410"/>
                <a:gd name="T71" fmla="*/ 8770 h 9921"/>
                <a:gd name="T72" fmla="*/ 5326 w 5410"/>
                <a:gd name="T73" fmla="*/ 9527 h 9921"/>
                <a:gd name="T74" fmla="*/ 5409 w 5410"/>
                <a:gd name="T75" fmla="*/ 9472 h 9921"/>
                <a:gd name="T76" fmla="*/ 5382 w 5410"/>
                <a:gd name="T77" fmla="*/ 9387 h 9921"/>
                <a:gd name="T78" fmla="*/ 3869 w 5410"/>
                <a:gd name="T79" fmla="*/ 7341 h 9921"/>
                <a:gd name="T80" fmla="*/ 3588 w 5410"/>
                <a:gd name="T81" fmla="*/ 6781 h 9921"/>
                <a:gd name="T82" fmla="*/ 2831 w 5410"/>
                <a:gd name="T83" fmla="*/ 6501 h 9921"/>
                <a:gd name="T84" fmla="*/ 3448 w 5410"/>
                <a:gd name="T85" fmla="*/ 6276 h 9921"/>
                <a:gd name="T86" fmla="*/ 2860 w 5410"/>
                <a:gd name="T87" fmla="*/ 5912 h 9921"/>
                <a:gd name="T88" fmla="*/ 2887 w 5410"/>
                <a:gd name="T89" fmla="*/ 5435 h 9921"/>
                <a:gd name="T90" fmla="*/ 3000 w 5410"/>
                <a:gd name="T91" fmla="*/ 4736 h 9921"/>
                <a:gd name="T92" fmla="*/ 2383 w 5410"/>
                <a:gd name="T93" fmla="*/ 4736 h 9921"/>
                <a:gd name="T94" fmla="*/ 2355 w 5410"/>
                <a:gd name="T95" fmla="*/ 5604 h 9921"/>
                <a:gd name="T96" fmla="*/ 2075 w 5410"/>
                <a:gd name="T97" fmla="*/ 6276 h 9921"/>
                <a:gd name="T98" fmla="*/ 2215 w 5410"/>
                <a:gd name="T99" fmla="*/ 6445 h 9921"/>
                <a:gd name="T100" fmla="*/ 1906 w 5410"/>
                <a:gd name="T101" fmla="*/ 7285 h 9921"/>
                <a:gd name="T102" fmla="*/ 1682 w 5410"/>
                <a:gd name="T103" fmla="*/ 6977 h 9921"/>
                <a:gd name="T104" fmla="*/ 1066 w 5410"/>
                <a:gd name="T105" fmla="*/ 8294 h 9921"/>
                <a:gd name="T106" fmla="*/ 2523 w 5410"/>
                <a:gd name="T107" fmla="*/ 8070 h 9921"/>
                <a:gd name="T108" fmla="*/ 2579 w 5410"/>
                <a:gd name="T109" fmla="*/ 9500 h 9921"/>
                <a:gd name="T110" fmla="*/ 2411 w 5410"/>
                <a:gd name="T111" fmla="*/ 6304 h 9921"/>
                <a:gd name="T112" fmla="*/ 2579 w 5410"/>
                <a:gd name="T113" fmla="*/ 5520 h 9921"/>
                <a:gd name="T114" fmla="*/ 2831 w 5410"/>
                <a:gd name="T115" fmla="*/ 8322 h 9921"/>
                <a:gd name="T116" fmla="*/ 4064 w 5410"/>
                <a:gd name="T117" fmla="*/ 8014 h 9921"/>
                <a:gd name="T118" fmla="*/ 4457 w 5410"/>
                <a:gd name="T119" fmla="*/ 8518 h 9921"/>
                <a:gd name="T120" fmla="*/ 3896 w 5410"/>
                <a:gd name="T121" fmla="*/ 8603 h 99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410" h="9921">
                  <a:moveTo>
                    <a:pt x="1654" y="3139"/>
                  </a:moveTo>
                  <a:lnTo>
                    <a:pt x="1206" y="3139"/>
                  </a:lnTo>
                  <a:lnTo>
                    <a:pt x="1682" y="2494"/>
                  </a:lnTo>
                  <a:lnTo>
                    <a:pt x="730" y="3279"/>
                  </a:lnTo>
                  <a:lnTo>
                    <a:pt x="1149" y="3279"/>
                  </a:lnTo>
                  <a:lnTo>
                    <a:pt x="477" y="3980"/>
                  </a:lnTo>
                  <a:lnTo>
                    <a:pt x="1654" y="3139"/>
                  </a:lnTo>
                  <a:close/>
                  <a:moveTo>
                    <a:pt x="4625" y="645"/>
                  </a:moveTo>
                  <a:lnTo>
                    <a:pt x="4205" y="645"/>
                  </a:lnTo>
                  <a:lnTo>
                    <a:pt x="4681" y="0"/>
                  </a:lnTo>
                  <a:lnTo>
                    <a:pt x="3700" y="785"/>
                  </a:lnTo>
                  <a:lnTo>
                    <a:pt x="4148" y="785"/>
                  </a:lnTo>
                  <a:lnTo>
                    <a:pt x="3476" y="1514"/>
                  </a:lnTo>
                  <a:lnTo>
                    <a:pt x="4625" y="645"/>
                  </a:lnTo>
                  <a:close/>
                  <a:moveTo>
                    <a:pt x="4905" y="3980"/>
                  </a:moveTo>
                  <a:lnTo>
                    <a:pt x="4233" y="3279"/>
                  </a:lnTo>
                  <a:lnTo>
                    <a:pt x="4681" y="3279"/>
                  </a:lnTo>
                  <a:lnTo>
                    <a:pt x="3700" y="2494"/>
                  </a:lnTo>
                  <a:lnTo>
                    <a:pt x="4176" y="3139"/>
                  </a:lnTo>
                  <a:lnTo>
                    <a:pt x="3728" y="3139"/>
                  </a:lnTo>
                  <a:lnTo>
                    <a:pt x="4905" y="3980"/>
                  </a:lnTo>
                  <a:close/>
                  <a:moveTo>
                    <a:pt x="757" y="645"/>
                  </a:moveTo>
                  <a:lnTo>
                    <a:pt x="1934" y="1514"/>
                  </a:lnTo>
                  <a:lnTo>
                    <a:pt x="1234" y="785"/>
                  </a:lnTo>
                  <a:lnTo>
                    <a:pt x="1682" y="785"/>
                  </a:lnTo>
                  <a:lnTo>
                    <a:pt x="730" y="0"/>
                  </a:lnTo>
                  <a:lnTo>
                    <a:pt x="1206" y="645"/>
                  </a:lnTo>
                  <a:lnTo>
                    <a:pt x="757" y="645"/>
                  </a:lnTo>
                  <a:close/>
                  <a:moveTo>
                    <a:pt x="5382" y="9360"/>
                  </a:moveTo>
                  <a:lnTo>
                    <a:pt x="5382" y="9360"/>
                  </a:lnTo>
                  <a:lnTo>
                    <a:pt x="5297" y="9275"/>
                  </a:lnTo>
                  <a:lnTo>
                    <a:pt x="5214" y="9191"/>
                  </a:lnTo>
                  <a:lnTo>
                    <a:pt x="5073" y="8995"/>
                  </a:lnTo>
                  <a:lnTo>
                    <a:pt x="4933" y="8799"/>
                  </a:lnTo>
                  <a:lnTo>
                    <a:pt x="4793" y="8603"/>
                  </a:lnTo>
                  <a:lnTo>
                    <a:pt x="4653" y="8379"/>
                  </a:lnTo>
                  <a:lnTo>
                    <a:pt x="4541" y="8182"/>
                  </a:lnTo>
                  <a:lnTo>
                    <a:pt x="4429" y="7958"/>
                  </a:lnTo>
                  <a:lnTo>
                    <a:pt x="4317" y="7734"/>
                  </a:lnTo>
                  <a:lnTo>
                    <a:pt x="4205" y="7482"/>
                  </a:lnTo>
                  <a:lnTo>
                    <a:pt x="4093" y="7258"/>
                  </a:lnTo>
                  <a:lnTo>
                    <a:pt x="4009" y="7033"/>
                  </a:lnTo>
                  <a:lnTo>
                    <a:pt x="3896" y="6809"/>
                  </a:lnTo>
                  <a:lnTo>
                    <a:pt x="3812" y="6557"/>
                  </a:lnTo>
                  <a:lnTo>
                    <a:pt x="3728" y="6333"/>
                  </a:lnTo>
                  <a:lnTo>
                    <a:pt x="3644" y="6080"/>
                  </a:lnTo>
                  <a:lnTo>
                    <a:pt x="3560" y="5856"/>
                  </a:lnTo>
                  <a:lnTo>
                    <a:pt x="3504" y="5604"/>
                  </a:lnTo>
                  <a:lnTo>
                    <a:pt x="3448" y="5380"/>
                  </a:lnTo>
                  <a:lnTo>
                    <a:pt x="3364" y="5155"/>
                  </a:lnTo>
                  <a:lnTo>
                    <a:pt x="3308" y="4932"/>
                  </a:lnTo>
                  <a:lnTo>
                    <a:pt x="3252" y="4708"/>
                  </a:lnTo>
                  <a:lnTo>
                    <a:pt x="3224" y="4484"/>
                  </a:lnTo>
                  <a:lnTo>
                    <a:pt x="3112" y="4063"/>
                  </a:lnTo>
                  <a:lnTo>
                    <a:pt x="3055" y="3699"/>
                  </a:lnTo>
                  <a:lnTo>
                    <a:pt x="2972" y="3335"/>
                  </a:lnTo>
                  <a:lnTo>
                    <a:pt x="2943" y="3027"/>
                  </a:lnTo>
                  <a:lnTo>
                    <a:pt x="2887" y="2775"/>
                  </a:lnTo>
                  <a:lnTo>
                    <a:pt x="2887" y="2775"/>
                  </a:lnTo>
                  <a:lnTo>
                    <a:pt x="2943" y="2747"/>
                  </a:lnTo>
                  <a:lnTo>
                    <a:pt x="3000" y="2718"/>
                  </a:lnTo>
                  <a:lnTo>
                    <a:pt x="3055" y="2690"/>
                  </a:lnTo>
                  <a:lnTo>
                    <a:pt x="3084" y="2663"/>
                  </a:lnTo>
                  <a:lnTo>
                    <a:pt x="3140" y="2635"/>
                  </a:lnTo>
                  <a:lnTo>
                    <a:pt x="3167" y="2606"/>
                  </a:lnTo>
                  <a:lnTo>
                    <a:pt x="3224" y="2550"/>
                  </a:lnTo>
                  <a:lnTo>
                    <a:pt x="3252" y="2523"/>
                  </a:lnTo>
                  <a:lnTo>
                    <a:pt x="3279" y="2466"/>
                  </a:lnTo>
                  <a:lnTo>
                    <a:pt x="3308" y="2438"/>
                  </a:lnTo>
                  <a:lnTo>
                    <a:pt x="3336" y="2382"/>
                  </a:lnTo>
                  <a:lnTo>
                    <a:pt x="3364" y="2326"/>
                  </a:lnTo>
                  <a:lnTo>
                    <a:pt x="3364" y="2270"/>
                  </a:lnTo>
                  <a:lnTo>
                    <a:pt x="3392" y="2214"/>
                  </a:lnTo>
                  <a:lnTo>
                    <a:pt x="3392" y="2158"/>
                  </a:lnTo>
                  <a:lnTo>
                    <a:pt x="3392" y="2102"/>
                  </a:lnTo>
                  <a:lnTo>
                    <a:pt x="3392" y="2102"/>
                  </a:lnTo>
                  <a:lnTo>
                    <a:pt x="3392" y="2018"/>
                  </a:lnTo>
                  <a:lnTo>
                    <a:pt x="3392" y="1962"/>
                  </a:lnTo>
                  <a:lnTo>
                    <a:pt x="3364" y="1878"/>
                  </a:lnTo>
                  <a:lnTo>
                    <a:pt x="3336" y="1821"/>
                  </a:lnTo>
                  <a:lnTo>
                    <a:pt x="3308" y="1766"/>
                  </a:lnTo>
                  <a:lnTo>
                    <a:pt x="3279" y="1709"/>
                  </a:lnTo>
                  <a:lnTo>
                    <a:pt x="3224" y="1654"/>
                  </a:lnTo>
                  <a:lnTo>
                    <a:pt x="3196" y="1597"/>
                  </a:lnTo>
                  <a:lnTo>
                    <a:pt x="3140" y="1569"/>
                  </a:lnTo>
                  <a:lnTo>
                    <a:pt x="3084" y="1514"/>
                  </a:lnTo>
                  <a:lnTo>
                    <a:pt x="3027" y="1485"/>
                  </a:lnTo>
                  <a:lnTo>
                    <a:pt x="2972" y="1457"/>
                  </a:lnTo>
                  <a:lnTo>
                    <a:pt x="2915" y="1429"/>
                  </a:lnTo>
                  <a:lnTo>
                    <a:pt x="2831" y="1429"/>
                  </a:lnTo>
                  <a:lnTo>
                    <a:pt x="2775" y="1402"/>
                  </a:lnTo>
                  <a:lnTo>
                    <a:pt x="2719" y="1402"/>
                  </a:lnTo>
                  <a:lnTo>
                    <a:pt x="2719" y="1402"/>
                  </a:lnTo>
                  <a:lnTo>
                    <a:pt x="2635" y="1402"/>
                  </a:lnTo>
                  <a:lnTo>
                    <a:pt x="2579" y="1429"/>
                  </a:lnTo>
                  <a:lnTo>
                    <a:pt x="2495" y="1429"/>
                  </a:lnTo>
                  <a:lnTo>
                    <a:pt x="2439" y="1457"/>
                  </a:lnTo>
                  <a:lnTo>
                    <a:pt x="2383" y="1485"/>
                  </a:lnTo>
                  <a:lnTo>
                    <a:pt x="2327" y="1514"/>
                  </a:lnTo>
                  <a:lnTo>
                    <a:pt x="2270" y="1569"/>
                  </a:lnTo>
                  <a:lnTo>
                    <a:pt x="2215" y="1597"/>
                  </a:lnTo>
                  <a:lnTo>
                    <a:pt x="2187" y="1654"/>
                  </a:lnTo>
                  <a:lnTo>
                    <a:pt x="2131" y="1709"/>
                  </a:lnTo>
                  <a:lnTo>
                    <a:pt x="2103" y="1766"/>
                  </a:lnTo>
                  <a:lnTo>
                    <a:pt x="2075" y="1821"/>
                  </a:lnTo>
                  <a:lnTo>
                    <a:pt x="2046" y="1878"/>
                  </a:lnTo>
                  <a:lnTo>
                    <a:pt x="2018" y="1962"/>
                  </a:lnTo>
                  <a:lnTo>
                    <a:pt x="2018" y="2018"/>
                  </a:lnTo>
                  <a:lnTo>
                    <a:pt x="2018" y="2102"/>
                  </a:lnTo>
                  <a:lnTo>
                    <a:pt x="2018" y="2102"/>
                  </a:lnTo>
                  <a:lnTo>
                    <a:pt x="2018" y="2158"/>
                  </a:lnTo>
                  <a:lnTo>
                    <a:pt x="2018" y="2214"/>
                  </a:lnTo>
                  <a:lnTo>
                    <a:pt x="2046" y="2270"/>
                  </a:lnTo>
                  <a:lnTo>
                    <a:pt x="2046" y="2326"/>
                  </a:lnTo>
                  <a:lnTo>
                    <a:pt x="2075" y="2382"/>
                  </a:lnTo>
                  <a:lnTo>
                    <a:pt x="2103" y="2438"/>
                  </a:lnTo>
                  <a:lnTo>
                    <a:pt x="2131" y="2466"/>
                  </a:lnTo>
                  <a:lnTo>
                    <a:pt x="2158" y="2523"/>
                  </a:lnTo>
                  <a:lnTo>
                    <a:pt x="2187" y="2550"/>
                  </a:lnTo>
                  <a:lnTo>
                    <a:pt x="2243" y="2606"/>
                  </a:lnTo>
                  <a:lnTo>
                    <a:pt x="2270" y="2635"/>
                  </a:lnTo>
                  <a:lnTo>
                    <a:pt x="2327" y="2663"/>
                  </a:lnTo>
                  <a:lnTo>
                    <a:pt x="2355" y="2690"/>
                  </a:lnTo>
                  <a:lnTo>
                    <a:pt x="2411" y="2718"/>
                  </a:lnTo>
                  <a:lnTo>
                    <a:pt x="2467" y="2747"/>
                  </a:lnTo>
                  <a:lnTo>
                    <a:pt x="2523" y="2775"/>
                  </a:lnTo>
                  <a:lnTo>
                    <a:pt x="2523" y="2775"/>
                  </a:lnTo>
                  <a:lnTo>
                    <a:pt x="2439" y="3195"/>
                  </a:lnTo>
                  <a:lnTo>
                    <a:pt x="2411" y="3447"/>
                  </a:lnTo>
                  <a:lnTo>
                    <a:pt x="2355" y="3727"/>
                  </a:lnTo>
                  <a:lnTo>
                    <a:pt x="2299" y="4036"/>
                  </a:lnTo>
                  <a:lnTo>
                    <a:pt x="2243" y="4344"/>
                  </a:lnTo>
                  <a:lnTo>
                    <a:pt x="2158" y="4680"/>
                  </a:lnTo>
                  <a:lnTo>
                    <a:pt x="2075" y="5016"/>
                  </a:lnTo>
                  <a:lnTo>
                    <a:pt x="1991" y="5352"/>
                  </a:lnTo>
                  <a:lnTo>
                    <a:pt x="1879" y="5716"/>
                  </a:lnTo>
                  <a:lnTo>
                    <a:pt x="1766" y="6080"/>
                  </a:lnTo>
                  <a:lnTo>
                    <a:pt x="1627" y="6445"/>
                  </a:lnTo>
                  <a:lnTo>
                    <a:pt x="1570" y="6641"/>
                  </a:lnTo>
                  <a:lnTo>
                    <a:pt x="1486" y="6809"/>
                  </a:lnTo>
                  <a:lnTo>
                    <a:pt x="1430" y="7006"/>
                  </a:lnTo>
                  <a:lnTo>
                    <a:pt x="1346" y="7173"/>
                  </a:lnTo>
                  <a:lnTo>
                    <a:pt x="1261" y="7370"/>
                  </a:lnTo>
                  <a:lnTo>
                    <a:pt x="1178" y="7537"/>
                  </a:lnTo>
                  <a:lnTo>
                    <a:pt x="1094" y="7706"/>
                  </a:lnTo>
                  <a:lnTo>
                    <a:pt x="1009" y="7902"/>
                  </a:lnTo>
                  <a:lnTo>
                    <a:pt x="1009" y="7902"/>
                  </a:lnTo>
                  <a:lnTo>
                    <a:pt x="1009" y="7902"/>
                  </a:lnTo>
                  <a:lnTo>
                    <a:pt x="1009" y="7902"/>
                  </a:lnTo>
                  <a:lnTo>
                    <a:pt x="1009" y="7902"/>
                  </a:lnTo>
                  <a:lnTo>
                    <a:pt x="1009" y="7902"/>
                  </a:lnTo>
                  <a:lnTo>
                    <a:pt x="1009" y="7902"/>
                  </a:lnTo>
                  <a:lnTo>
                    <a:pt x="982" y="7986"/>
                  </a:lnTo>
                  <a:lnTo>
                    <a:pt x="982" y="7986"/>
                  </a:lnTo>
                  <a:lnTo>
                    <a:pt x="870" y="8182"/>
                  </a:lnTo>
                  <a:lnTo>
                    <a:pt x="757" y="8351"/>
                  </a:lnTo>
                  <a:lnTo>
                    <a:pt x="645" y="8546"/>
                  </a:lnTo>
                  <a:lnTo>
                    <a:pt x="533" y="8715"/>
                  </a:lnTo>
                  <a:lnTo>
                    <a:pt x="393" y="8883"/>
                  </a:lnTo>
                  <a:lnTo>
                    <a:pt x="281" y="9051"/>
                  </a:lnTo>
                  <a:lnTo>
                    <a:pt x="169" y="9191"/>
                  </a:lnTo>
                  <a:lnTo>
                    <a:pt x="28" y="9360"/>
                  </a:lnTo>
                  <a:lnTo>
                    <a:pt x="28" y="9360"/>
                  </a:lnTo>
                  <a:lnTo>
                    <a:pt x="28" y="9360"/>
                  </a:lnTo>
                  <a:lnTo>
                    <a:pt x="0" y="9387"/>
                  </a:lnTo>
                  <a:lnTo>
                    <a:pt x="0" y="9415"/>
                  </a:lnTo>
                  <a:lnTo>
                    <a:pt x="0" y="9415"/>
                  </a:lnTo>
                  <a:lnTo>
                    <a:pt x="0" y="9443"/>
                  </a:lnTo>
                  <a:lnTo>
                    <a:pt x="0" y="9472"/>
                  </a:lnTo>
                  <a:lnTo>
                    <a:pt x="0" y="9472"/>
                  </a:lnTo>
                  <a:lnTo>
                    <a:pt x="28" y="9500"/>
                  </a:lnTo>
                  <a:lnTo>
                    <a:pt x="28" y="9500"/>
                  </a:lnTo>
                  <a:lnTo>
                    <a:pt x="28" y="9500"/>
                  </a:lnTo>
                  <a:lnTo>
                    <a:pt x="57" y="9527"/>
                  </a:lnTo>
                  <a:lnTo>
                    <a:pt x="57" y="9527"/>
                  </a:lnTo>
                  <a:lnTo>
                    <a:pt x="85" y="9527"/>
                  </a:lnTo>
                  <a:lnTo>
                    <a:pt x="113" y="9527"/>
                  </a:lnTo>
                  <a:lnTo>
                    <a:pt x="140" y="9527"/>
                  </a:lnTo>
                  <a:lnTo>
                    <a:pt x="140" y="9527"/>
                  </a:lnTo>
                  <a:lnTo>
                    <a:pt x="169" y="9527"/>
                  </a:lnTo>
                  <a:lnTo>
                    <a:pt x="1654" y="8770"/>
                  </a:lnTo>
                  <a:lnTo>
                    <a:pt x="2607" y="9864"/>
                  </a:lnTo>
                  <a:lnTo>
                    <a:pt x="2607" y="9864"/>
                  </a:lnTo>
                  <a:lnTo>
                    <a:pt x="2607" y="9864"/>
                  </a:lnTo>
                  <a:lnTo>
                    <a:pt x="2607" y="9864"/>
                  </a:lnTo>
                  <a:lnTo>
                    <a:pt x="2635" y="9891"/>
                  </a:lnTo>
                  <a:lnTo>
                    <a:pt x="2635" y="9891"/>
                  </a:lnTo>
                  <a:lnTo>
                    <a:pt x="2635" y="9891"/>
                  </a:lnTo>
                  <a:lnTo>
                    <a:pt x="2635" y="9891"/>
                  </a:lnTo>
                  <a:lnTo>
                    <a:pt x="2635" y="9891"/>
                  </a:lnTo>
                  <a:lnTo>
                    <a:pt x="2663" y="9891"/>
                  </a:lnTo>
                  <a:lnTo>
                    <a:pt x="2663" y="9891"/>
                  </a:lnTo>
                  <a:lnTo>
                    <a:pt x="2663" y="9891"/>
                  </a:lnTo>
                  <a:lnTo>
                    <a:pt x="2663" y="9891"/>
                  </a:lnTo>
                  <a:lnTo>
                    <a:pt x="2663" y="9891"/>
                  </a:lnTo>
                  <a:lnTo>
                    <a:pt x="2691" y="9920"/>
                  </a:lnTo>
                  <a:lnTo>
                    <a:pt x="2691" y="9920"/>
                  </a:lnTo>
                  <a:lnTo>
                    <a:pt x="2691" y="9920"/>
                  </a:lnTo>
                  <a:lnTo>
                    <a:pt x="2691" y="9920"/>
                  </a:lnTo>
                  <a:lnTo>
                    <a:pt x="2719" y="9920"/>
                  </a:lnTo>
                  <a:lnTo>
                    <a:pt x="2719" y="9920"/>
                  </a:lnTo>
                  <a:lnTo>
                    <a:pt x="2748" y="9920"/>
                  </a:lnTo>
                  <a:lnTo>
                    <a:pt x="2748" y="9920"/>
                  </a:lnTo>
                  <a:lnTo>
                    <a:pt x="2748" y="9920"/>
                  </a:lnTo>
                  <a:lnTo>
                    <a:pt x="2748" y="9920"/>
                  </a:lnTo>
                  <a:lnTo>
                    <a:pt x="2748" y="9920"/>
                  </a:lnTo>
                  <a:lnTo>
                    <a:pt x="2775" y="9920"/>
                  </a:lnTo>
                  <a:lnTo>
                    <a:pt x="2775" y="9920"/>
                  </a:lnTo>
                  <a:lnTo>
                    <a:pt x="2775" y="9920"/>
                  </a:lnTo>
                  <a:lnTo>
                    <a:pt x="2775" y="9891"/>
                  </a:lnTo>
                  <a:lnTo>
                    <a:pt x="2775" y="9891"/>
                  </a:lnTo>
                  <a:lnTo>
                    <a:pt x="2775" y="9891"/>
                  </a:lnTo>
                  <a:lnTo>
                    <a:pt x="2775" y="9891"/>
                  </a:lnTo>
                  <a:lnTo>
                    <a:pt x="2803" y="9891"/>
                  </a:lnTo>
                  <a:lnTo>
                    <a:pt x="2803" y="9864"/>
                  </a:lnTo>
                  <a:lnTo>
                    <a:pt x="3757" y="8770"/>
                  </a:lnTo>
                  <a:lnTo>
                    <a:pt x="5242" y="9527"/>
                  </a:lnTo>
                  <a:lnTo>
                    <a:pt x="5242" y="9527"/>
                  </a:lnTo>
                  <a:lnTo>
                    <a:pt x="5270" y="9527"/>
                  </a:lnTo>
                  <a:lnTo>
                    <a:pt x="5270" y="9527"/>
                  </a:lnTo>
                  <a:lnTo>
                    <a:pt x="5297" y="9527"/>
                  </a:lnTo>
                  <a:lnTo>
                    <a:pt x="5326" y="9527"/>
                  </a:lnTo>
                  <a:lnTo>
                    <a:pt x="5354" y="9527"/>
                  </a:lnTo>
                  <a:lnTo>
                    <a:pt x="5354" y="9527"/>
                  </a:lnTo>
                  <a:lnTo>
                    <a:pt x="5382" y="9500"/>
                  </a:lnTo>
                  <a:lnTo>
                    <a:pt x="5382" y="9500"/>
                  </a:lnTo>
                  <a:lnTo>
                    <a:pt x="5382" y="9500"/>
                  </a:lnTo>
                  <a:lnTo>
                    <a:pt x="5409" y="9472"/>
                  </a:lnTo>
                  <a:lnTo>
                    <a:pt x="5409" y="9472"/>
                  </a:lnTo>
                  <a:lnTo>
                    <a:pt x="5409" y="9443"/>
                  </a:lnTo>
                  <a:lnTo>
                    <a:pt x="5409" y="9415"/>
                  </a:lnTo>
                  <a:lnTo>
                    <a:pt x="5409" y="9415"/>
                  </a:lnTo>
                  <a:lnTo>
                    <a:pt x="5409" y="9387"/>
                  </a:lnTo>
                  <a:lnTo>
                    <a:pt x="5382" y="9387"/>
                  </a:lnTo>
                  <a:lnTo>
                    <a:pt x="5382" y="9360"/>
                  </a:lnTo>
                  <a:close/>
                  <a:moveTo>
                    <a:pt x="4009" y="7678"/>
                  </a:moveTo>
                  <a:lnTo>
                    <a:pt x="3476" y="7285"/>
                  </a:lnTo>
                  <a:lnTo>
                    <a:pt x="3728" y="7006"/>
                  </a:lnTo>
                  <a:lnTo>
                    <a:pt x="3728" y="7006"/>
                  </a:lnTo>
                  <a:lnTo>
                    <a:pt x="3869" y="7341"/>
                  </a:lnTo>
                  <a:lnTo>
                    <a:pt x="3952" y="7510"/>
                  </a:lnTo>
                  <a:lnTo>
                    <a:pt x="4009" y="7678"/>
                  </a:lnTo>
                  <a:close/>
                  <a:moveTo>
                    <a:pt x="3279" y="7145"/>
                  </a:moveTo>
                  <a:lnTo>
                    <a:pt x="2860" y="6837"/>
                  </a:lnTo>
                  <a:lnTo>
                    <a:pt x="3167" y="6445"/>
                  </a:lnTo>
                  <a:lnTo>
                    <a:pt x="3588" y="6781"/>
                  </a:lnTo>
                  <a:lnTo>
                    <a:pt x="3279" y="7145"/>
                  </a:lnTo>
                  <a:close/>
                  <a:moveTo>
                    <a:pt x="3140" y="7341"/>
                  </a:moveTo>
                  <a:lnTo>
                    <a:pt x="2831" y="7762"/>
                  </a:lnTo>
                  <a:lnTo>
                    <a:pt x="2831" y="7117"/>
                  </a:lnTo>
                  <a:lnTo>
                    <a:pt x="3140" y="7341"/>
                  </a:lnTo>
                  <a:close/>
                  <a:moveTo>
                    <a:pt x="2831" y="6501"/>
                  </a:moveTo>
                  <a:lnTo>
                    <a:pt x="2831" y="6164"/>
                  </a:lnTo>
                  <a:lnTo>
                    <a:pt x="2972" y="6304"/>
                  </a:lnTo>
                  <a:lnTo>
                    <a:pt x="2831" y="6501"/>
                  </a:lnTo>
                  <a:close/>
                  <a:moveTo>
                    <a:pt x="3392" y="6164"/>
                  </a:moveTo>
                  <a:lnTo>
                    <a:pt x="3392" y="6164"/>
                  </a:lnTo>
                  <a:lnTo>
                    <a:pt x="3448" y="6276"/>
                  </a:lnTo>
                  <a:lnTo>
                    <a:pt x="3476" y="6333"/>
                  </a:lnTo>
                  <a:lnTo>
                    <a:pt x="3476" y="6389"/>
                  </a:lnTo>
                  <a:lnTo>
                    <a:pt x="3308" y="6249"/>
                  </a:lnTo>
                  <a:lnTo>
                    <a:pt x="3392" y="6164"/>
                  </a:lnTo>
                  <a:close/>
                  <a:moveTo>
                    <a:pt x="3140" y="6109"/>
                  </a:moveTo>
                  <a:lnTo>
                    <a:pt x="2860" y="5912"/>
                  </a:lnTo>
                  <a:lnTo>
                    <a:pt x="3055" y="5632"/>
                  </a:lnTo>
                  <a:lnTo>
                    <a:pt x="3279" y="5912"/>
                  </a:lnTo>
                  <a:lnTo>
                    <a:pt x="3140" y="6109"/>
                  </a:lnTo>
                  <a:close/>
                  <a:moveTo>
                    <a:pt x="2831" y="5520"/>
                  </a:moveTo>
                  <a:lnTo>
                    <a:pt x="2831" y="5324"/>
                  </a:lnTo>
                  <a:lnTo>
                    <a:pt x="2887" y="5435"/>
                  </a:lnTo>
                  <a:lnTo>
                    <a:pt x="2831" y="5520"/>
                  </a:lnTo>
                  <a:close/>
                  <a:moveTo>
                    <a:pt x="3112" y="5128"/>
                  </a:moveTo>
                  <a:lnTo>
                    <a:pt x="3055" y="5240"/>
                  </a:lnTo>
                  <a:lnTo>
                    <a:pt x="2860" y="4988"/>
                  </a:lnTo>
                  <a:lnTo>
                    <a:pt x="3000" y="4736"/>
                  </a:lnTo>
                  <a:lnTo>
                    <a:pt x="3000" y="4736"/>
                  </a:lnTo>
                  <a:lnTo>
                    <a:pt x="3112" y="5128"/>
                  </a:lnTo>
                  <a:close/>
                  <a:moveTo>
                    <a:pt x="2831" y="4596"/>
                  </a:moveTo>
                  <a:lnTo>
                    <a:pt x="2831" y="4232"/>
                  </a:lnTo>
                  <a:lnTo>
                    <a:pt x="2915" y="4428"/>
                  </a:lnTo>
                  <a:lnTo>
                    <a:pt x="2831" y="4596"/>
                  </a:lnTo>
                  <a:close/>
                  <a:moveTo>
                    <a:pt x="2383" y="4736"/>
                  </a:moveTo>
                  <a:lnTo>
                    <a:pt x="2551" y="4988"/>
                  </a:lnTo>
                  <a:lnTo>
                    <a:pt x="2383" y="5212"/>
                  </a:lnTo>
                  <a:lnTo>
                    <a:pt x="2299" y="5128"/>
                  </a:lnTo>
                  <a:lnTo>
                    <a:pt x="2299" y="5128"/>
                  </a:lnTo>
                  <a:lnTo>
                    <a:pt x="2383" y="4736"/>
                  </a:lnTo>
                  <a:close/>
                  <a:moveTo>
                    <a:pt x="2355" y="5604"/>
                  </a:moveTo>
                  <a:lnTo>
                    <a:pt x="2551" y="5885"/>
                  </a:lnTo>
                  <a:lnTo>
                    <a:pt x="2243" y="6137"/>
                  </a:lnTo>
                  <a:lnTo>
                    <a:pt x="2103" y="5912"/>
                  </a:lnTo>
                  <a:lnTo>
                    <a:pt x="2355" y="5604"/>
                  </a:lnTo>
                  <a:close/>
                  <a:moveTo>
                    <a:pt x="1991" y="6164"/>
                  </a:moveTo>
                  <a:lnTo>
                    <a:pt x="2075" y="6276"/>
                  </a:lnTo>
                  <a:lnTo>
                    <a:pt x="1906" y="6389"/>
                  </a:lnTo>
                  <a:lnTo>
                    <a:pt x="1906" y="6389"/>
                  </a:lnTo>
                  <a:lnTo>
                    <a:pt x="1934" y="6276"/>
                  </a:lnTo>
                  <a:lnTo>
                    <a:pt x="1963" y="6221"/>
                  </a:lnTo>
                  <a:lnTo>
                    <a:pt x="1991" y="6164"/>
                  </a:lnTo>
                  <a:close/>
                  <a:moveTo>
                    <a:pt x="2215" y="6445"/>
                  </a:moveTo>
                  <a:lnTo>
                    <a:pt x="2523" y="6837"/>
                  </a:lnTo>
                  <a:lnTo>
                    <a:pt x="2103" y="7145"/>
                  </a:lnTo>
                  <a:lnTo>
                    <a:pt x="1822" y="6781"/>
                  </a:lnTo>
                  <a:lnTo>
                    <a:pt x="2215" y="6445"/>
                  </a:lnTo>
                  <a:close/>
                  <a:moveTo>
                    <a:pt x="1682" y="6977"/>
                  </a:moveTo>
                  <a:lnTo>
                    <a:pt x="1906" y="7285"/>
                  </a:lnTo>
                  <a:lnTo>
                    <a:pt x="1402" y="7649"/>
                  </a:lnTo>
                  <a:lnTo>
                    <a:pt x="1402" y="7649"/>
                  </a:lnTo>
                  <a:lnTo>
                    <a:pt x="1458" y="7482"/>
                  </a:lnTo>
                  <a:lnTo>
                    <a:pt x="1542" y="7313"/>
                  </a:lnTo>
                  <a:lnTo>
                    <a:pt x="1627" y="7145"/>
                  </a:lnTo>
                  <a:lnTo>
                    <a:pt x="1682" y="6977"/>
                  </a:lnTo>
                  <a:close/>
                  <a:moveTo>
                    <a:pt x="561" y="9079"/>
                  </a:moveTo>
                  <a:lnTo>
                    <a:pt x="561" y="9079"/>
                  </a:lnTo>
                  <a:lnTo>
                    <a:pt x="730" y="8855"/>
                  </a:lnTo>
                  <a:lnTo>
                    <a:pt x="870" y="8631"/>
                  </a:lnTo>
                  <a:lnTo>
                    <a:pt x="1009" y="8406"/>
                  </a:lnTo>
                  <a:lnTo>
                    <a:pt x="1066" y="8294"/>
                  </a:lnTo>
                  <a:lnTo>
                    <a:pt x="1149" y="8154"/>
                  </a:lnTo>
                  <a:lnTo>
                    <a:pt x="1514" y="8603"/>
                  </a:lnTo>
                  <a:lnTo>
                    <a:pt x="561" y="9079"/>
                  </a:lnTo>
                  <a:close/>
                  <a:moveTo>
                    <a:pt x="1318" y="8014"/>
                  </a:moveTo>
                  <a:lnTo>
                    <a:pt x="2075" y="7482"/>
                  </a:lnTo>
                  <a:lnTo>
                    <a:pt x="2523" y="8070"/>
                  </a:lnTo>
                  <a:lnTo>
                    <a:pt x="1739" y="8491"/>
                  </a:lnTo>
                  <a:lnTo>
                    <a:pt x="1318" y="8014"/>
                  </a:lnTo>
                  <a:close/>
                  <a:moveTo>
                    <a:pt x="2579" y="9500"/>
                  </a:moveTo>
                  <a:lnTo>
                    <a:pt x="1906" y="8687"/>
                  </a:lnTo>
                  <a:lnTo>
                    <a:pt x="2579" y="8322"/>
                  </a:lnTo>
                  <a:lnTo>
                    <a:pt x="2579" y="9500"/>
                  </a:lnTo>
                  <a:close/>
                  <a:moveTo>
                    <a:pt x="2579" y="7762"/>
                  </a:moveTo>
                  <a:lnTo>
                    <a:pt x="2243" y="7341"/>
                  </a:lnTo>
                  <a:lnTo>
                    <a:pt x="2579" y="7117"/>
                  </a:lnTo>
                  <a:lnTo>
                    <a:pt x="2579" y="7762"/>
                  </a:lnTo>
                  <a:close/>
                  <a:moveTo>
                    <a:pt x="2579" y="6557"/>
                  </a:moveTo>
                  <a:lnTo>
                    <a:pt x="2411" y="6304"/>
                  </a:lnTo>
                  <a:lnTo>
                    <a:pt x="2579" y="6164"/>
                  </a:lnTo>
                  <a:lnTo>
                    <a:pt x="2579" y="6557"/>
                  </a:lnTo>
                  <a:close/>
                  <a:moveTo>
                    <a:pt x="2579" y="5520"/>
                  </a:moveTo>
                  <a:lnTo>
                    <a:pt x="2523" y="5407"/>
                  </a:lnTo>
                  <a:lnTo>
                    <a:pt x="2579" y="5324"/>
                  </a:lnTo>
                  <a:lnTo>
                    <a:pt x="2579" y="5520"/>
                  </a:lnTo>
                  <a:close/>
                  <a:moveTo>
                    <a:pt x="2579" y="4596"/>
                  </a:moveTo>
                  <a:lnTo>
                    <a:pt x="2495" y="4428"/>
                  </a:lnTo>
                  <a:lnTo>
                    <a:pt x="2579" y="4232"/>
                  </a:lnTo>
                  <a:lnTo>
                    <a:pt x="2579" y="4596"/>
                  </a:lnTo>
                  <a:close/>
                  <a:moveTo>
                    <a:pt x="2831" y="9500"/>
                  </a:moveTo>
                  <a:lnTo>
                    <a:pt x="2831" y="8322"/>
                  </a:lnTo>
                  <a:lnTo>
                    <a:pt x="3504" y="8687"/>
                  </a:lnTo>
                  <a:lnTo>
                    <a:pt x="2831" y="9500"/>
                  </a:lnTo>
                  <a:close/>
                  <a:moveTo>
                    <a:pt x="3672" y="8491"/>
                  </a:moveTo>
                  <a:lnTo>
                    <a:pt x="2887" y="8070"/>
                  </a:lnTo>
                  <a:lnTo>
                    <a:pt x="3336" y="7482"/>
                  </a:lnTo>
                  <a:lnTo>
                    <a:pt x="4064" y="8014"/>
                  </a:lnTo>
                  <a:lnTo>
                    <a:pt x="3672" y="8491"/>
                  </a:lnTo>
                  <a:close/>
                  <a:moveTo>
                    <a:pt x="3896" y="8603"/>
                  </a:moveTo>
                  <a:lnTo>
                    <a:pt x="4261" y="8182"/>
                  </a:lnTo>
                  <a:lnTo>
                    <a:pt x="4261" y="8182"/>
                  </a:lnTo>
                  <a:lnTo>
                    <a:pt x="4400" y="8406"/>
                  </a:lnTo>
                  <a:lnTo>
                    <a:pt x="4457" y="8518"/>
                  </a:lnTo>
                  <a:lnTo>
                    <a:pt x="4541" y="8631"/>
                  </a:lnTo>
                  <a:lnTo>
                    <a:pt x="4597" y="8743"/>
                  </a:lnTo>
                  <a:lnTo>
                    <a:pt x="4681" y="8855"/>
                  </a:lnTo>
                  <a:lnTo>
                    <a:pt x="4766" y="8967"/>
                  </a:lnTo>
                  <a:lnTo>
                    <a:pt x="4849" y="9079"/>
                  </a:lnTo>
                  <a:lnTo>
                    <a:pt x="3896" y="8603"/>
                  </a:lnTo>
                  <a:close/>
                </a:path>
              </a:pathLst>
            </a:custGeom>
            <a:solidFill>
              <a:srgbClr val="8A002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7405677" y="2077597"/>
            <a:ext cx="823924" cy="1493405"/>
            <a:chOff x="7372725" y="1869835"/>
            <a:chExt cx="823924" cy="1344067"/>
          </a:xfrm>
        </p:grpSpPr>
        <p:sp>
          <p:nvSpPr>
            <p:cNvPr id="20" name="Rectangle 19"/>
            <p:cNvSpPr/>
            <p:nvPr/>
          </p:nvSpPr>
          <p:spPr>
            <a:xfrm>
              <a:off x="7372725" y="2936902"/>
              <a:ext cx="823924" cy="27700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 smtClean="0">
                  <a:solidFill>
                    <a:srgbClr val="8A0021"/>
                  </a:solidFill>
                  <a:latin typeface="Helvetica" panose="020B0604020202020204" pitchFamily="34" charset="0"/>
                  <a:ea typeface="Graphik Semibold" charset="0"/>
                  <a:cs typeface="Helvetica" panose="020B0604020202020204" pitchFamily="34" charset="0"/>
                </a:rPr>
                <a:t>HOPE</a:t>
              </a:r>
            </a:p>
          </p:txBody>
        </p:sp>
        <p:sp>
          <p:nvSpPr>
            <p:cNvPr id="24" name="Freeform 23"/>
            <p:cNvSpPr>
              <a:spLocks noChangeArrowheads="1"/>
            </p:cNvSpPr>
            <p:nvPr/>
          </p:nvSpPr>
          <p:spPr bwMode="auto">
            <a:xfrm>
              <a:off x="7474859" y="1869835"/>
              <a:ext cx="619656" cy="955620"/>
            </a:xfrm>
            <a:custGeom>
              <a:avLst/>
              <a:gdLst>
                <a:gd name="T0" fmla="*/ 2439 w 4654"/>
                <a:gd name="T1" fmla="*/ 6837 h 7174"/>
                <a:gd name="T2" fmla="*/ 2887 w 4654"/>
                <a:gd name="T3" fmla="*/ 5295 h 7174"/>
                <a:gd name="T4" fmla="*/ 2158 w 4654"/>
                <a:gd name="T5" fmla="*/ 4904 h 7174"/>
                <a:gd name="T6" fmla="*/ 1570 w 4654"/>
                <a:gd name="T7" fmla="*/ 5492 h 7174"/>
                <a:gd name="T8" fmla="*/ 533 w 4654"/>
                <a:gd name="T9" fmla="*/ 5548 h 7174"/>
                <a:gd name="T10" fmla="*/ 85 w 4654"/>
                <a:gd name="T11" fmla="*/ 5324 h 7174"/>
                <a:gd name="T12" fmla="*/ 701 w 4654"/>
                <a:gd name="T13" fmla="*/ 7146 h 7174"/>
                <a:gd name="T14" fmla="*/ 2439 w 4654"/>
                <a:gd name="T15" fmla="*/ 6837 h 7174"/>
                <a:gd name="T16" fmla="*/ 533 w 4654"/>
                <a:gd name="T17" fmla="*/ 5408 h 7174"/>
                <a:gd name="T18" fmla="*/ 954 w 4654"/>
                <a:gd name="T19" fmla="*/ 4904 h 7174"/>
                <a:gd name="T20" fmla="*/ 954 w 4654"/>
                <a:gd name="T21" fmla="*/ 3279 h 7174"/>
                <a:gd name="T22" fmla="*/ 85 w 4654"/>
                <a:gd name="T23" fmla="*/ 3475 h 7174"/>
                <a:gd name="T24" fmla="*/ 113 w 4654"/>
                <a:gd name="T25" fmla="*/ 5128 h 7174"/>
                <a:gd name="T26" fmla="*/ 1570 w 4654"/>
                <a:gd name="T27" fmla="*/ 5380 h 7174"/>
                <a:gd name="T28" fmla="*/ 2018 w 4654"/>
                <a:gd name="T29" fmla="*/ 4904 h 7174"/>
                <a:gd name="T30" fmla="*/ 1991 w 4654"/>
                <a:gd name="T31" fmla="*/ 4623 h 7174"/>
                <a:gd name="T32" fmla="*/ 1879 w 4654"/>
                <a:gd name="T33" fmla="*/ 3672 h 7174"/>
                <a:gd name="T34" fmla="*/ 2018 w 4654"/>
                <a:gd name="T35" fmla="*/ 3251 h 7174"/>
                <a:gd name="T36" fmla="*/ 1094 w 4654"/>
                <a:gd name="T37" fmla="*/ 3251 h 7174"/>
                <a:gd name="T38" fmla="*/ 1094 w 4654"/>
                <a:gd name="T39" fmla="*/ 4035 h 7174"/>
                <a:gd name="T40" fmla="*/ 1122 w 4654"/>
                <a:gd name="T41" fmla="*/ 5071 h 7174"/>
                <a:gd name="T42" fmla="*/ 4513 w 4654"/>
                <a:gd name="T43" fmla="*/ 813 h 7174"/>
                <a:gd name="T44" fmla="*/ 4261 w 4654"/>
                <a:gd name="T45" fmla="*/ 112 h 7174"/>
                <a:gd name="T46" fmla="*/ 3364 w 4654"/>
                <a:gd name="T47" fmla="*/ 757 h 7174"/>
                <a:gd name="T48" fmla="*/ 4513 w 4654"/>
                <a:gd name="T49" fmla="*/ 813 h 7174"/>
                <a:gd name="T50" fmla="*/ 2467 w 4654"/>
                <a:gd name="T51" fmla="*/ 2606 h 7174"/>
                <a:gd name="T52" fmla="*/ 2075 w 4654"/>
                <a:gd name="T53" fmla="*/ 3420 h 7174"/>
                <a:gd name="T54" fmla="*/ 2131 w 4654"/>
                <a:gd name="T55" fmla="*/ 3447 h 7174"/>
                <a:gd name="T56" fmla="*/ 2607 w 4654"/>
                <a:gd name="T57" fmla="*/ 3420 h 7174"/>
                <a:gd name="T58" fmla="*/ 3588 w 4654"/>
                <a:gd name="T59" fmla="*/ 2747 h 7174"/>
                <a:gd name="T60" fmla="*/ 3279 w 4654"/>
                <a:gd name="T61" fmla="*/ 953 h 7174"/>
                <a:gd name="T62" fmla="*/ 2775 w 4654"/>
                <a:gd name="T63" fmla="*/ 421 h 7174"/>
                <a:gd name="T64" fmla="*/ 2411 w 4654"/>
                <a:gd name="T65" fmla="*/ 617 h 7174"/>
                <a:gd name="T66" fmla="*/ 2579 w 4654"/>
                <a:gd name="T67" fmla="*/ 2382 h 7174"/>
                <a:gd name="T68" fmla="*/ 2831 w 4654"/>
                <a:gd name="T69" fmla="*/ 3532 h 7174"/>
                <a:gd name="T70" fmla="*/ 3869 w 4654"/>
                <a:gd name="T71" fmla="*/ 4315 h 7174"/>
                <a:gd name="T72" fmla="*/ 4205 w 4654"/>
                <a:gd name="T73" fmla="*/ 4791 h 7174"/>
                <a:gd name="T74" fmla="*/ 4036 w 4654"/>
                <a:gd name="T75" fmla="*/ 4623 h 7174"/>
                <a:gd name="T76" fmla="*/ 3981 w 4654"/>
                <a:gd name="T77" fmla="*/ 4567 h 7174"/>
                <a:gd name="T78" fmla="*/ 3055 w 4654"/>
                <a:gd name="T79" fmla="*/ 3867 h 7174"/>
                <a:gd name="T80" fmla="*/ 2748 w 4654"/>
                <a:gd name="T81" fmla="*/ 3644 h 7174"/>
                <a:gd name="T82" fmla="*/ 2663 w 4654"/>
                <a:gd name="T83" fmla="*/ 3587 h 7174"/>
                <a:gd name="T84" fmla="*/ 2158 w 4654"/>
                <a:gd name="T85" fmla="*/ 3587 h 7174"/>
                <a:gd name="T86" fmla="*/ 2018 w 4654"/>
                <a:gd name="T87" fmla="*/ 3699 h 7174"/>
                <a:gd name="T88" fmla="*/ 1991 w 4654"/>
                <a:gd name="T89" fmla="*/ 3755 h 7174"/>
                <a:gd name="T90" fmla="*/ 2018 w 4654"/>
                <a:gd name="T91" fmla="*/ 4455 h 7174"/>
                <a:gd name="T92" fmla="*/ 2103 w 4654"/>
                <a:gd name="T93" fmla="*/ 4511 h 7174"/>
                <a:gd name="T94" fmla="*/ 3055 w 4654"/>
                <a:gd name="T95" fmla="*/ 5268 h 7174"/>
                <a:gd name="T96" fmla="*/ 2579 w 4654"/>
                <a:gd name="T97" fmla="*/ 6809 h 7174"/>
                <a:gd name="T98" fmla="*/ 2972 w 4654"/>
                <a:gd name="T99" fmla="*/ 7146 h 7174"/>
                <a:gd name="T100" fmla="*/ 3588 w 4654"/>
                <a:gd name="T101" fmla="*/ 6837 h 7174"/>
                <a:gd name="T102" fmla="*/ 4205 w 4654"/>
                <a:gd name="T103" fmla="*/ 4791 h 7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654" h="7174">
                  <a:moveTo>
                    <a:pt x="2439" y="6837"/>
                  </a:moveTo>
                  <a:lnTo>
                    <a:pt x="2439" y="6837"/>
                  </a:lnTo>
                  <a:cubicBezTo>
                    <a:pt x="2383" y="6669"/>
                    <a:pt x="2383" y="6501"/>
                    <a:pt x="2467" y="6333"/>
                  </a:cubicBezTo>
                  <a:lnTo>
                    <a:pt x="2887" y="5295"/>
                  </a:lnTo>
                  <a:lnTo>
                    <a:pt x="2158" y="4735"/>
                  </a:lnTo>
                  <a:lnTo>
                    <a:pt x="2158" y="4904"/>
                  </a:lnTo>
                  <a:cubicBezTo>
                    <a:pt x="2158" y="5240"/>
                    <a:pt x="1879" y="5492"/>
                    <a:pt x="1570" y="5492"/>
                  </a:cubicBezTo>
                  <a:lnTo>
                    <a:pt x="1570" y="5492"/>
                  </a:lnTo>
                  <a:cubicBezTo>
                    <a:pt x="1346" y="5492"/>
                    <a:pt x="1178" y="5408"/>
                    <a:pt x="1066" y="5240"/>
                  </a:cubicBezTo>
                  <a:cubicBezTo>
                    <a:pt x="954" y="5436"/>
                    <a:pt x="757" y="5548"/>
                    <a:pt x="533" y="5548"/>
                  </a:cubicBezTo>
                  <a:lnTo>
                    <a:pt x="533" y="5548"/>
                  </a:lnTo>
                  <a:cubicBezTo>
                    <a:pt x="365" y="5548"/>
                    <a:pt x="197" y="5464"/>
                    <a:pt x="85" y="5324"/>
                  </a:cubicBezTo>
                  <a:lnTo>
                    <a:pt x="57" y="5492"/>
                  </a:lnTo>
                  <a:cubicBezTo>
                    <a:pt x="272" y="6044"/>
                    <a:pt x="0" y="6894"/>
                    <a:pt x="701" y="7146"/>
                  </a:cubicBezTo>
                  <a:lnTo>
                    <a:pt x="2663" y="7146"/>
                  </a:lnTo>
                  <a:cubicBezTo>
                    <a:pt x="2579" y="7061"/>
                    <a:pt x="2495" y="6977"/>
                    <a:pt x="2439" y="6837"/>
                  </a:cubicBezTo>
                  <a:close/>
                  <a:moveTo>
                    <a:pt x="533" y="5408"/>
                  </a:moveTo>
                  <a:lnTo>
                    <a:pt x="533" y="5408"/>
                  </a:lnTo>
                  <a:cubicBezTo>
                    <a:pt x="757" y="5408"/>
                    <a:pt x="925" y="5268"/>
                    <a:pt x="982" y="5071"/>
                  </a:cubicBezTo>
                  <a:cubicBezTo>
                    <a:pt x="982" y="5016"/>
                    <a:pt x="954" y="4959"/>
                    <a:pt x="954" y="4904"/>
                  </a:cubicBezTo>
                  <a:lnTo>
                    <a:pt x="954" y="4035"/>
                  </a:lnTo>
                  <a:lnTo>
                    <a:pt x="954" y="3279"/>
                  </a:lnTo>
                  <a:cubicBezTo>
                    <a:pt x="897" y="3111"/>
                    <a:pt x="730" y="2999"/>
                    <a:pt x="533" y="2999"/>
                  </a:cubicBezTo>
                  <a:cubicBezTo>
                    <a:pt x="281" y="2999"/>
                    <a:pt x="85" y="3223"/>
                    <a:pt x="85" y="3475"/>
                  </a:cubicBezTo>
                  <a:lnTo>
                    <a:pt x="85" y="4931"/>
                  </a:lnTo>
                  <a:cubicBezTo>
                    <a:pt x="85" y="5016"/>
                    <a:pt x="85" y="5071"/>
                    <a:pt x="113" y="5128"/>
                  </a:cubicBezTo>
                  <a:cubicBezTo>
                    <a:pt x="197" y="5295"/>
                    <a:pt x="337" y="5408"/>
                    <a:pt x="533" y="5408"/>
                  </a:cubicBezTo>
                  <a:close/>
                  <a:moveTo>
                    <a:pt x="1570" y="5380"/>
                  </a:moveTo>
                  <a:lnTo>
                    <a:pt x="1570" y="5380"/>
                  </a:lnTo>
                  <a:cubicBezTo>
                    <a:pt x="1822" y="5380"/>
                    <a:pt x="2018" y="5156"/>
                    <a:pt x="2018" y="4904"/>
                  </a:cubicBezTo>
                  <a:lnTo>
                    <a:pt x="2018" y="4623"/>
                  </a:lnTo>
                  <a:lnTo>
                    <a:pt x="1991" y="4623"/>
                  </a:lnTo>
                  <a:cubicBezTo>
                    <a:pt x="1794" y="4455"/>
                    <a:pt x="1710" y="4174"/>
                    <a:pt x="1766" y="3922"/>
                  </a:cubicBezTo>
                  <a:cubicBezTo>
                    <a:pt x="1766" y="3838"/>
                    <a:pt x="1822" y="3727"/>
                    <a:pt x="1879" y="3672"/>
                  </a:cubicBezTo>
                  <a:cubicBezTo>
                    <a:pt x="1906" y="3615"/>
                    <a:pt x="1963" y="3559"/>
                    <a:pt x="2018" y="3532"/>
                  </a:cubicBezTo>
                  <a:cubicBezTo>
                    <a:pt x="2018" y="3251"/>
                    <a:pt x="2018" y="3344"/>
                    <a:pt x="2018" y="3251"/>
                  </a:cubicBezTo>
                  <a:cubicBezTo>
                    <a:pt x="2018" y="2999"/>
                    <a:pt x="1794" y="2775"/>
                    <a:pt x="1542" y="2775"/>
                  </a:cubicBezTo>
                  <a:cubicBezTo>
                    <a:pt x="1290" y="2775"/>
                    <a:pt x="1094" y="2999"/>
                    <a:pt x="1094" y="3251"/>
                  </a:cubicBezTo>
                  <a:lnTo>
                    <a:pt x="1094" y="3251"/>
                  </a:lnTo>
                  <a:lnTo>
                    <a:pt x="1094" y="4035"/>
                  </a:lnTo>
                  <a:lnTo>
                    <a:pt x="1094" y="4904"/>
                  </a:lnTo>
                  <a:cubicBezTo>
                    <a:pt x="1094" y="4959"/>
                    <a:pt x="1094" y="5043"/>
                    <a:pt x="1122" y="5071"/>
                  </a:cubicBezTo>
                  <a:cubicBezTo>
                    <a:pt x="1206" y="5240"/>
                    <a:pt x="1374" y="5380"/>
                    <a:pt x="1570" y="5380"/>
                  </a:cubicBezTo>
                  <a:close/>
                  <a:moveTo>
                    <a:pt x="4513" y="813"/>
                  </a:moveTo>
                  <a:lnTo>
                    <a:pt x="4513" y="813"/>
                  </a:lnTo>
                  <a:cubicBezTo>
                    <a:pt x="4653" y="561"/>
                    <a:pt x="4541" y="252"/>
                    <a:pt x="4261" y="112"/>
                  </a:cubicBezTo>
                  <a:cubicBezTo>
                    <a:pt x="4009" y="0"/>
                    <a:pt x="3672" y="112"/>
                    <a:pt x="3560" y="364"/>
                  </a:cubicBezTo>
                  <a:lnTo>
                    <a:pt x="3364" y="757"/>
                  </a:lnTo>
                  <a:lnTo>
                    <a:pt x="3672" y="2551"/>
                  </a:lnTo>
                  <a:lnTo>
                    <a:pt x="4513" y="813"/>
                  </a:lnTo>
                  <a:close/>
                  <a:moveTo>
                    <a:pt x="2467" y="2606"/>
                  </a:moveTo>
                  <a:lnTo>
                    <a:pt x="2467" y="2606"/>
                  </a:lnTo>
                  <a:lnTo>
                    <a:pt x="2131" y="3279"/>
                  </a:lnTo>
                  <a:cubicBezTo>
                    <a:pt x="2075" y="3420"/>
                    <a:pt x="2094" y="3373"/>
                    <a:pt x="2075" y="3420"/>
                  </a:cubicBezTo>
                  <a:cubicBezTo>
                    <a:pt x="2075" y="3475"/>
                    <a:pt x="2075" y="3456"/>
                    <a:pt x="2075" y="3475"/>
                  </a:cubicBezTo>
                  <a:cubicBezTo>
                    <a:pt x="2103" y="3475"/>
                    <a:pt x="2112" y="3456"/>
                    <a:pt x="2131" y="3447"/>
                  </a:cubicBezTo>
                  <a:cubicBezTo>
                    <a:pt x="2243" y="3420"/>
                    <a:pt x="2327" y="3391"/>
                    <a:pt x="2411" y="3391"/>
                  </a:cubicBezTo>
                  <a:cubicBezTo>
                    <a:pt x="2495" y="3391"/>
                    <a:pt x="2551" y="3391"/>
                    <a:pt x="2607" y="3420"/>
                  </a:cubicBezTo>
                  <a:lnTo>
                    <a:pt x="2467" y="2606"/>
                  </a:lnTo>
                  <a:close/>
                  <a:moveTo>
                    <a:pt x="3588" y="2747"/>
                  </a:moveTo>
                  <a:lnTo>
                    <a:pt x="3588" y="2747"/>
                  </a:lnTo>
                  <a:lnTo>
                    <a:pt x="3279" y="953"/>
                  </a:lnTo>
                  <a:lnTo>
                    <a:pt x="3252" y="813"/>
                  </a:lnTo>
                  <a:cubicBezTo>
                    <a:pt x="3196" y="588"/>
                    <a:pt x="3000" y="421"/>
                    <a:pt x="2775" y="421"/>
                  </a:cubicBezTo>
                  <a:lnTo>
                    <a:pt x="2691" y="421"/>
                  </a:lnTo>
                  <a:cubicBezTo>
                    <a:pt x="2579" y="448"/>
                    <a:pt x="2467" y="505"/>
                    <a:pt x="2411" y="617"/>
                  </a:cubicBezTo>
                  <a:cubicBezTo>
                    <a:pt x="2327" y="729"/>
                    <a:pt x="2299" y="841"/>
                    <a:pt x="2327" y="953"/>
                  </a:cubicBezTo>
                  <a:lnTo>
                    <a:pt x="2579" y="2382"/>
                  </a:lnTo>
                  <a:lnTo>
                    <a:pt x="2775" y="3475"/>
                  </a:lnTo>
                  <a:cubicBezTo>
                    <a:pt x="2803" y="3503"/>
                    <a:pt x="2803" y="3503"/>
                    <a:pt x="2831" y="3532"/>
                  </a:cubicBezTo>
                  <a:lnTo>
                    <a:pt x="3112" y="3727"/>
                  </a:lnTo>
                  <a:lnTo>
                    <a:pt x="3869" y="4315"/>
                  </a:lnTo>
                  <a:lnTo>
                    <a:pt x="3588" y="2747"/>
                  </a:lnTo>
                  <a:close/>
                  <a:moveTo>
                    <a:pt x="4205" y="4791"/>
                  </a:moveTo>
                  <a:lnTo>
                    <a:pt x="4205" y="4791"/>
                  </a:lnTo>
                  <a:cubicBezTo>
                    <a:pt x="4148" y="4735"/>
                    <a:pt x="4093" y="4679"/>
                    <a:pt x="4036" y="4623"/>
                  </a:cubicBezTo>
                  <a:lnTo>
                    <a:pt x="4036" y="4623"/>
                  </a:lnTo>
                  <a:lnTo>
                    <a:pt x="3981" y="4567"/>
                  </a:lnTo>
                  <a:lnTo>
                    <a:pt x="3896" y="4511"/>
                  </a:lnTo>
                  <a:cubicBezTo>
                    <a:pt x="3055" y="3867"/>
                    <a:pt x="3335" y="4082"/>
                    <a:pt x="3055" y="3867"/>
                  </a:cubicBezTo>
                  <a:lnTo>
                    <a:pt x="2803" y="3672"/>
                  </a:lnTo>
                  <a:lnTo>
                    <a:pt x="2748" y="3644"/>
                  </a:lnTo>
                  <a:cubicBezTo>
                    <a:pt x="2748" y="3615"/>
                    <a:pt x="2748" y="3615"/>
                    <a:pt x="2719" y="3615"/>
                  </a:cubicBezTo>
                  <a:cubicBezTo>
                    <a:pt x="2691" y="3615"/>
                    <a:pt x="2682" y="3596"/>
                    <a:pt x="2663" y="3587"/>
                  </a:cubicBezTo>
                  <a:cubicBezTo>
                    <a:pt x="2579" y="3532"/>
                    <a:pt x="2495" y="3532"/>
                    <a:pt x="2411" y="3532"/>
                  </a:cubicBezTo>
                  <a:cubicBezTo>
                    <a:pt x="2327" y="3532"/>
                    <a:pt x="2243" y="3559"/>
                    <a:pt x="2158" y="3587"/>
                  </a:cubicBezTo>
                  <a:cubicBezTo>
                    <a:pt x="2131" y="3615"/>
                    <a:pt x="2103" y="3615"/>
                    <a:pt x="2075" y="3644"/>
                  </a:cubicBezTo>
                  <a:cubicBezTo>
                    <a:pt x="2075" y="3672"/>
                    <a:pt x="2046" y="3699"/>
                    <a:pt x="2018" y="3699"/>
                  </a:cubicBezTo>
                  <a:cubicBezTo>
                    <a:pt x="2018" y="3727"/>
                    <a:pt x="1991" y="3727"/>
                    <a:pt x="1991" y="3755"/>
                  </a:cubicBezTo>
                  <a:lnTo>
                    <a:pt x="1991" y="3755"/>
                  </a:lnTo>
                  <a:cubicBezTo>
                    <a:pt x="1963" y="3783"/>
                    <a:pt x="1934" y="3838"/>
                    <a:pt x="1906" y="3895"/>
                  </a:cubicBezTo>
                  <a:cubicBezTo>
                    <a:pt x="1851" y="4091"/>
                    <a:pt x="1879" y="4287"/>
                    <a:pt x="2018" y="4455"/>
                  </a:cubicBezTo>
                  <a:cubicBezTo>
                    <a:pt x="2046" y="4483"/>
                    <a:pt x="2075" y="4483"/>
                    <a:pt x="2103" y="4511"/>
                  </a:cubicBezTo>
                  <a:lnTo>
                    <a:pt x="2103" y="4511"/>
                  </a:lnTo>
                  <a:cubicBezTo>
                    <a:pt x="2158" y="4567"/>
                    <a:pt x="2140" y="4549"/>
                    <a:pt x="2158" y="4567"/>
                  </a:cubicBezTo>
                  <a:lnTo>
                    <a:pt x="3055" y="5268"/>
                  </a:lnTo>
                  <a:lnTo>
                    <a:pt x="2579" y="6389"/>
                  </a:lnTo>
                  <a:cubicBezTo>
                    <a:pt x="2523" y="6501"/>
                    <a:pt x="2523" y="6669"/>
                    <a:pt x="2579" y="6809"/>
                  </a:cubicBezTo>
                  <a:cubicBezTo>
                    <a:pt x="2635" y="6949"/>
                    <a:pt x="2748" y="7061"/>
                    <a:pt x="2860" y="7118"/>
                  </a:cubicBezTo>
                  <a:cubicBezTo>
                    <a:pt x="2887" y="7118"/>
                    <a:pt x="2943" y="7146"/>
                    <a:pt x="2972" y="7146"/>
                  </a:cubicBezTo>
                  <a:cubicBezTo>
                    <a:pt x="3000" y="7146"/>
                    <a:pt x="3027" y="7173"/>
                    <a:pt x="3084" y="7173"/>
                  </a:cubicBezTo>
                  <a:cubicBezTo>
                    <a:pt x="3308" y="7173"/>
                    <a:pt x="3504" y="7033"/>
                    <a:pt x="3588" y="6837"/>
                  </a:cubicBezTo>
                  <a:lnTo>
                    <a:pt x="4233" y="5324"/>
                  </a:lnTo>
                  <a:cubicBezTo>
                    <a:pt x="4316" y="5156"/>
                    <a:pt x="4288" y="4959"/>
                    <a:pt x="4205" y="4791"/>
                  </a:cubicBezTo>
                  <a:close/>
                </a:path>
              </a:pathLst>
            </a:custGeom>
            <a:solidFill>
              <a:srgbClr val="8A002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cxnSp>
        <p:nvCxnSpPr>
          <p:cNvPr id="26" name="Straight Connector 25"/>
          <p:cNvCxnSpPr/>
          <p:nvPr/>
        </p:nvCxnSpPr>
        <p:spPr>
          <a:xfrm>
            <a:off x="2003858" y="2608509"/>
            <a:ext cx="1089688" cy="1"/>
          </a:xfrm>
          <a:prstGeom prst="line">
            <a:avLst/>
          </a:prstGeom>
          <a:ln w="15875" cap="rnd">
            <a:solidFill>
              <a:srgbClr val="7C0622"/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4178647" y="2608509"/>
            <a:ext cx="1089688" cy="1"/>
          </a:xfrm>
          <a:prstGeom prst="line">
            <a:avLst/>
          </a:prstGeom>
          <a:ln w="15875" cap="rnd">
            <a:solidFill>
              <a:srgbClr val="7C0622"/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6215440" y="2608509"/>
            <a:ext cx="1089688" cy="1"/>
          </a:xfrm>
          <a:prstGeom prst="line">
            <a:avLst/>
          </a:prstGeom>
          <a:ln w="15875" cap="rnd">
            <a:solidFill>
              <a:srgbClr val="7C0622"/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>
            <a:off x="1106512" y="635428"/>
            <a:ext cx="69310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dirty="0" smtClean="0">
                <a:solidFill>
                  <a:prstClr val="black"/>
                </a:solidFill>
                <a:latin typeface="Helvetica" panose="020B0604020202020204" pitchFamily="34" charset="0"/>
                <a:ea typeface="Graphik Light" charset="0"/>
                <a:cs typeface="Helvetica" panose="020B0604020202020204" pitchFamily="34" charset="0"/>
              </a:rPr>
              <a:t>TYPICAL APPROACH TO </a:t>
            </a:r>
            <a:r>
              <a:rPr lang="en-US" sz="2000" b="1" dirty="0" smtClean="0">
                <a:solidFill>
                  <a:srgbClr val="8A0021"/>
                </a:solidFill>
                <a:latin typeface="Helvetica" panose="020B0604020202020204" pitchFamily="34" charset="0"/>
                <a:ea typeface="Graphik Semibold" charset="0"/>
                <a:cs typeface="Helvetica" panose="020B0604020202020204" pitchFamily="34" charset="0"/>
              </a:rPr>
              <a:t>SCALING </a:t>
            </a:r>
            <a:r>
              <a:rPr lang="en-US" sz="2000" dirty="0" smtClean="0">
                <a:solidFill>
                  <a:prstClr val="black"/>
                </a:solidFill>
                <a:latin typeface="Helvetica" panose="020B0604020202020204" pitchFamily="34" charset="0"/>
                <a:ea typeface="Graphik Light" charset="0"/>
                <a:cs typeface="Helvetica" panose="020B0604020202020204" pitchFamily="34" charset="0"/>
              </a:rPr>
              <a:t>IN SOCIAL SCIENCE</a:t>
            </a:r>
            <a:endParaRPr lang="en-US" sz="2000" b="1" dirty="0">
              <a:solidFill>
                <a:srgbClr val="8A0021"/>
              </a:solidFill>
              <a:latin typeface="Helvetica" panose="020B0604020202020204" pitchFamily="34" charset="0"/>
              <a:ea typeface="Graphik Semibold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1017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57188" y="617220"/>
            <a:ext cx="8337550" cy="3680752"/>
          </a:xfrm>
        </p:spPr>
        <p:txBody>
          <a:bodyPr/>
          <a:lstStyle/>
          <a:p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“Nearly 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every problem has been solved by someone, somewhere...we can’t seem to replicate [those solutions] anywhere else</a:t>
            </a:r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.”</a:t>
            </a:r>
          </a:p>
          <a:p>
            <a:pPr marL="342900" indent="-342900">
              <a:buFontTx/>
              <a:buChar char="-"/>
            </a:pPr>
            <a:r>
              <a:rPr lang="en-US" dirty="0" smtClean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resident Bill Clinton</a:t>
            </a:r>
          </a:p>
        </p:txBody>
      </p:sp>
    </p:spTree>
    <p:extLst>
      <p:ext uri="{BB962C8B-B14F-4D97-AF65-F5344CB8AC3E}">
        <p14:creationId xmlns:p14="http://schemas.microsoft.com/office/powerpoint/2010/main" val="1748179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 descr="https://www.tcta.org/sites/tcta.org/files/images/emptydesks_classsize_jpg_800x1000_q10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0"/>
            <a:ext cx="9143999" cy="571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3726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6982" y="532312"/>
            <a:ext cx="4099559" cy="4685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64228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60693" y="635428"/>
            <a:ext cx="8422691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000" dirty="0" smtClean="0">
                <a:solidFill>
                  <a:prstClr val="black"/>
                </a:solidFill>
                <a:latin typeface="Helvetica" panose="020B0604020202020204" pitchFamily="34" charset="0"/>
                <a:ea typeface="Graphik Light" charset="0"/>
                <a:cs typeface="Helvetica" panose="020B0604020202020204" pitchFamily="34" charset="0"/>
              </a:rPr>
              <a:t>HOW URBAN LABS THINKS ABOUT </a:t>
            </a:r>
            <a:r>
              <a:rPr lang="en-US" sz="3000" b="1" dirty="0" smtClean="0">
                <a:solidFill>
                  <a:srgbClr val="8A0021"/>
                </a:solidFill>
                <a:latin typeface="Helvetica" panose="020B0604020202020204" pitchFamily="34" charset="0"/>
                <a:ea typeface="Graphik Semibold" charset="0"/>
                <a:cs typeface="Helvetica" panose="020B0604020202020204" pitchFamily="34" charset="0"/>
              </a:rPr>
              <a:t>SCALING</a:t>
            </a:r>
            <a:endParaRPr lang="en-US" sz="3000" b="1" dirty="0">
              <a:solidFill>
                <a:srgbClr val="8A0021"/>
              </a:solidFill>
              <a:latin typeface="Helvetica" panose="020B0604020202020204" pitchFamily="34" charset="0"/>
              <a:ea typeface="Graphik Semibold" charset="0"/>
              <a:cs typeface="Helvetica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60693" y="1659468"/>
            <a:ext cx="8422691" cy="3293209"/>
          </a:xfrm>
          <a:prstGeom prst="rect">
            <a:avLst/>
          </a:prstGeom>
        </p:spPr>
        <p:txBody>
          <a:bodyPr vert="horz"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2600" dirty="0" smtClean="0">
                <a:solidFill>
                  <a:srgbClr val="191918"/>
                </a:solidFill>
                <a:latin typeface="Helvetica" panose="020B0604020202020204" pitchFamily="34" charset="0"/>
                <a:ea typeface="Graphik" charset="0"/>
                <a:cs typeface="Helvetica" panose="020B0604020202020204" pitchFamily="34" charset="0"/>
              </a:rPr>
              <a:t>It’s the inputs that matter</a:t>
            </a:r>
          </a:p>
          <a:p>
            <a:endParaRPr lang="en-US" sz="2600" dirty="0" smtClean="0">
              <a:solidFill>
                <a:srgbClr val="191918"/>
              </a:solidFill>
              <a:latin typeface="Helvetica" panose="020B0604020202020204" pitchFamily="34" charset="0"/>
              <a:ea typeface="Graphik" charset="0"/>
              <a:cs typeface="Helvetica" panose="020B0604020202020204" pitchFamily="34" charset="0"/>
            </a:endParaRPr>
          </a:p>
          <a:p>
            <a:pPr marL="285750" indent="-285750">
              <a:buFont typeface="Arial"/>
              <a:buChar char="•"/>
            </a:pPr>
            <a:r>
              <a:rPr lang="en-US" sz="2600" dirty="0" smtClean="0">
                <a:solidFill>
                  <a:srgbClr val="191918"/>
                </a:solidFill>
                <a:latin typeface="Helvetica" panose="020B0604020202020204" pitchFamily="34" charset="0"/>
                <a:ea typeface="Graphik" charset="0"/>
                <a:cs typeface="Helvetica" panose="020B0604020202020204" pitchFamily="34" charset="0"/>
              </a:rPr>
              <a:t>We should test impact at scale before going to scale</a:t>
            </a:r>
          </a:p>
          <a:p>
            <a:pPr marL="285750" indent="-285750">
              <a:buFont typeface="Arial"/>
              <a:buChar char="•"/>
            </a:pPr>
            <a:endParaRPr lang="en-US" sz="2600" dirty="0">
              <a:solidFill>
                <a:srgbClr val="191918"/>
              </a:solidFill>
              <a:latin typeface="Helvetica" panose="020B0604020202020204" pitchFamily="34" charset="0"/>
              <a:ea typeface="Graphik" charset="0"/>
              <a:cs typeface="Helvetica" panose="020B0604020202020204" pitchFamily="34" charset="0"/>
            </a:endParaRPr>
          </a:p>
          <a:p>
            <a:pPr marL="285750" indent="-285750">
              <a:buFont typeface="Arial"/>
              <a:buChar char="•"/>
            </a:pPr>
            <a:r>
              <a:rPr lang="en-US" sz="2600" dirty="0" smtClean="0">
                <a:solidFill>
                  <a:srgbClr val="191918"/>
                </a:solidFill>
                <a:latin typeface="Helvetica" panose="020B0604020202020204" pitchFamily="34" charset="0"/>
                <a:ea typeface="Graphik" charset="0"/>
                <a:cs typeface="Helvetica" panose="020B0604020202020204" pitchFamily="34" charset="0"/>
              </a:rPr>
              <a:t>Identifying the specific recipe for scalability is key</a:t>
            </a:r>
          </a:p>
          <a:p>
            <a:endParaRPr lang="en-US" sz="2600" dirty="0">
              <a:solidFill>
                <a:srgbClr val="191918"/>
              </a:solidFill>
              <a:latin typeface="Helvetica" panose="020B0604020202020204" pitchFamily="34" charset="0"/>
              <a:ea typeface="Graphik" charset="0"/>
              <a:cs typeface="Helvetica" panose="020B0604020202020204" pitchFamily="34" charset="0"/>
            </a:endParaRPr>
          </a:p>
          <a:p>
            <a:pPr marL="285750" indent="-285750">
              <a:buFont typeface="Arial"/>
              <a:buChar char="•"/>
            </a:pPr>
            <a:r>
              <a:rPr lang="en-US" sz="2600" dirty="0" smtClean="0">
                <a:solidFill>
                  <a:srgbClr val="191918"/>
                </a:solidFill>
                <a:latin typeface="Helvetica" panose="020B0604020202020204" pitchFamily="34" charset="0"/>
                <a:ea typeface="Graphik" charset="0"/>
                <a:cs typeface="Helvetica" panose="020B0604020202020204" pitchFamily="34" charset="0"/>
              </a:rPr>
              <a:t>Success depends on strong relationships with policymakers </a:t>
            </a:r>
          </a:p>
        </p:txBody>
      </p:sp>
    </p:spTree>
    <p:extLst>
      <p:ext uri="{BB962C8B-B14F-4D97-AF65-F5344CB8AC3E}">
        <p14:creationId xmlns:p14="http://schemas.microsoft.com/office/powerpoint/2010/main" val="1387559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13000"/>
            <a:lum/>
          </a:blip>
          <a:srcRect/>
          <a:stretch>
            <a:fillRect l="-29000" r="-2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4764550"/>
          </a:xfrm>
        </p:spPr>
        <p:txBody>
          <a:bodyPr>
            <a:normAutofit/>
          </a:bodyPr>
          <a:lstStyle/>
          <a:p>
            <a:pPr algn="l"/>
            <a:r>
              <a:rPr lang="en-US" sz="46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t takes a city…</a:t>
            </a:r>
            <a:r>
              <a:rPr lang="en-US" sz="12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sz="12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1200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sz="1200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3800" dirty="0" smtClean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- Government and agency partners</a:t>
            </a:r>
            <a:br>
              <a:rPr lang="en-US" sz="3800" dirty="0" smtClean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3800" dirty="0" smtClean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- Non-profit partners</a:t>
            </a:r>
            <a:br>
              <a:rPr lang="en-US" sz="3800" dirty="0" smtClean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3800" dirty="0" smtClean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- Access to data</a:t>
            </a:r>
            <a:br>
              <a:rPr lang="en-US" sz="3800" dirty="0" smtClean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3800" dirty="0" smtClean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- Funding</a:t>
            </a:r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</a:b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32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427356" y="3234524"/>
            <a:ext cx="7725342" cy="4572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1427356" y="4035276"/>
            <a:ext cx="7725342" cy="4572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/>
          <p:cNvCxnSpPr/>
          <p:nvPr/>
        </p:nvCxnSpPr>
        <p:spPr>
          <a:xfrm flipH="1">
            <a:off x="1427356" y="4830000"/>
            <a:ext cx="7725342" cy="0"/>
          </a:xfrm>
          <a:prstGeom prst="line">
            <a:avLst/>
          </a:prstGeom>
          <a:ln w="19050">
            <a:solidFill>
              <a:srgbClr val="4C4C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316149" y="2440829"/>
            <a:ext cx="967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Whites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6149" y="4079208"/>
            <a:ext cx="967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Blacks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538852" y="4982399"/>
            <a:ext cx="685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10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229600" y="2440829"/>
            <a:ext cx="91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12.74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16149" y="3278457"/>
            <a:ext cx="967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Latinos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427356" y="2396896"/>
            <a:ext cx="6802244" cy="4572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Connector 13"/>
          <p:cNvCxnSpPr/>
          <p:nvPr/>
        </p:nvCxnSpPr>
        <p:spPr>
          <a:xfrm>
            <a:off x="6767452" y="1299770"/>
            <a:ext cx="0" cy="3682633"/>
          </a:xfrm>
          <a:prstGeom prst="line">
            <a:avLst/>
          </a:prstGeom>
          <a:ln w="19050">
            <a:solidFill>
              <a:srgbClr val="4C4C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0" y="1542149"/>
            <a:ext cx="14273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High-Income Countries</a:t>
            </a:r>
            <a:endParaRPr lang="en-US" sz="16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644328" y="1649859"/>
            <a:ext cx="5454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0.4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427356" y="1605927"/>
            <a:ext cx="210312" cy="4572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/>
          <p:cNvCxnSpPr/>
          <p:nvPr/>
        </p:nvCxnSpPr>
        <p:spPr>
          <a:xfrm>
            <a:off x="1427356" y="1299779"/>
            <a:ext cx="0" cy="3530233"/>
          </a:xfrm>
          <a:prstGeom prst="line">
            <a:avLst/>
          </a:prstGeom>
          <a:ln w="19050">
            <a:solidFill>
              <a:srgbClr val="4C4C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799787" y="228600"/>
            <a:ext cx="81712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000" b="1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un </a:t>
            </a:r>
            <a:r>
              <a:rPr lang="en-US" sz="20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Homicide in the U.S.: </a:t>
            </a:r>
            <a:r>
              <a:rPr lang="en-US" sz="2000" b="1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ates per 100,000 </a:t>
            </a:r>
            <a:r>
              <a:rPr lang="en-US" sz="20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000" b="1" dirty="0" smtClean="0">
                <a:solidFill>
                  <a:srgbClr val="76767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(</a:t>
            </a:r>
            <a:r>
              <a:rPr lang="en-US" sz="2000" b="1" dirty="0">
                <a:solidFill>
                  <a:srgbClr val="76767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ales, ages 15-24)</a:t>
            </a:r>
            <a:endParaRPr lang="en-US" sz="20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101471" y="5362874"/>
            <a:ext cx="69410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ource: Centers for Disease Control and Prevention WISQARS, National Violent Death Reporting System (NVDRS)</a:t>
            </a:r>
            <a:endParaRPr lang="en-US" sz="10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4336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13000"/>
            <a:lum/>
          </a:blip>
          <a:srcRect/>
          <a:stretch>
            <a:fillRect l="-29000" r="-2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57188" y="371330"/>
            <a:ext cx="8329612" cy="4764550"/>
          </a:xfrm>
        </p:spPr>
        <p:txBody>
          <a:bodyPr>
            <a:normAutofit/>
          </a:bodyPr>
          <a:lstStyle/>
          <a:p>
            <a:pPr algn="l"/>
            <a:r>
              <a:rPr lang="en-US" sz="40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mplementing RCTs in schools…</a:t>
            </a:r>
            <a:r>
              <a:rPr lang="en-US" sz="12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sz="12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1200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sz="1200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4000" dirty="0">
                <a:latin typeface="Helvetica" panose="020B0604020202020204" pitchFamily="34" charset="0"/>
                <a:cs typeface="Helvetica" panose="020B0604020202020204" pitchFamily="34" charset="0"/>
              </a:rPr>
              <a:t>- Partnering with schools</a:t>
            </a:r>
            <a:r>
              <a:rPr lang="en-US" sz="1400" dirty="0"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sz="14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1400" dirty="0"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sz="14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4000" dirty="0">
                <a:latin typeface="Helvetica" panose="020B0604020202020204" pitchFamily="34" charset="0"/>
                <a:cs typeface="Helvetica" panose="020B0604020202020204" pitchFamily="34" charset="0"/>
              </a:rPr>
              <a:t>- Leveraging (or developing) an</a:t>
            </a:r>
            <a:br>
              <a:rPr lang="en-US" sz="40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4000" dirty="0">
                <a:latin typeface="Helvetica" panose="020B0604020202020204" pitchFamily="34" charset="0"/>
                <a:cs typeface="Helvetica" panose="020B0604020202020204" pitchFamily="34" charset="0"/>
              </a:rPr>
              <a:t>  administrative data infrastructure</a:t>
            </a:r>
            <a:r>
              <a:rPr lang="en-US" sz="1400" dirty="0"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sz="14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1400" dirty="0"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sz="14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4000" dirty="0">
                <a:latin typeface="Helvetica" panose="020B0604020202020204" pitchFamily="34" charset="0"/>
                <a:cs typeface="Helvetica" panose="020B0604020202020204" pitchFamily="34" charset="0"/>
              </a:rPr>
              <a:t>- Accessing data</a:t>
            </a:r>
            <a:r>
              <a:rPr lang="en-US" sz="1400" dirty="0"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sz="14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1400" dirty="0"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sz="14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4000" dirty="0">
                <a:latin typeface="Helvetica" panose="020B0604020202020204" pitchFamily="34" charset="0"/>
                <a:cs typeface="Helvetica" panose="020B0604020202020204" pitchFamily="34" charset="0"/>
              </a:rPr>
              <a:t>- Fidelity to </a:t>
            </a:r>
            <a:r>
              <a:rPr lang="en-US" sz="4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randomization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1507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1"/>
          <p:cNvSpPr txBox="1">
            <a:spLocks noGrp="1" noChangeArrowheads="1"/>
          </p:cNvSpPr>
          <p:nvPr>
            <p:ph type="title"/>
          </p:nvPr>
        </p:nvSpPr>
        <p:spPr bwMode="auto">
          <a:xfrm>
            <a:off x="357188" y="515929"/>
            <a:ext cx="8329612" cy="4576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MS PGothic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9pPr>
          </a:lstStyle>
          <a:p>
            <a:pPr marL="288925" indent="-288925"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3800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No shortage of </a:t>
            </a:r>
            <a:r>
              <a:rPr lang="en-US" sz="3800" dirty="0" smtClean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novation </a:t>
            </a:r>
            <a:r>
              <a:rPr lang="en-US" sz="3800" b="0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Wingdings"/>
              </a:rPr>
              <a:t></a:t>
            </a:r>
            <a:r>
              <a:rPr lang="en-US" sz="3800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Wingdings"/>
              </a:rPr>
              <a:t> it’s</a:t>
            </a:r>
            <a:r>
              <a:rPr lang="en-US" sz="3800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3800" dirty="0" smtClean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vidence </a:t>
            </a:r>
            <a:r>
              <a:rPr lang="en-US" sz="3800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hat is </a:t>
            </a:r>
            <a:r>
              <a:rPr lang="en-US" sz="38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 short </a:t>
            </a:r>
            <a:r>
              <a:rPr lang="en-US" sz="3800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upply</a:t>
            </a:r>
          </a:p>
          <a:p>
            <a:pPr marL="0" indent="0" eaLnBrk="1" hangingPunct="1">
              <a:spcBef>
                <a:spcPts val="600"/>
              </a:spcBef>
            </a:pPr>
            <a:r>
              <a:rPr lang="en-US" sz="1200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sz="1200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</a:br>
            <a:endParaRPr lang="en-US" sz="1200" dirty="0">
              <a:solidFill>
                <a:schemeClr val="bg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eaLnBrk="1" hangingPunct="1">
              <a:spcBef>
                <a:spcPts val="600"/>
              </a:spcBef>
              <a:buFontTx/>
              <a:buChar char="•"/>
            </a:pPr>
            <a:r>
              <a:rPr lang="en-US" sz="38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est projects </a:t>
            </a:r>
            <a:r>
              <a:rPr lang="en-US" sz="3800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re defined jointly by </a:t>
            </a:r>
            <a:r>
              <a:rPr lang="en-US" sz="3800" dirty="0" smtClean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olicymakers </a:t>
            </a:r>
            <a:r>
              <a:rPr lang="en-US" sz="3800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nd </a:t>
            </a:r>
            <a:r>
              <a:rPr lang="en-US" sz="3800" dirty="0" smtClean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esearchers</a:t>
            </a:r>
          </a:p>
          <a:p>
            <a:pPr marL="0" indent="0" eaLnBrk="1" hangingPunct="1">
              <a:spcBef>
                <a:spcPts val="600"/>
              </a:spcBef>
            </a:pPr>
            <a:r>
              <a:rPr lang="en-US" sz="1200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sz="1200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</a:br>
            <a:endParaRPr lang="en-US" sz="1200" dirty="0" smtClean="0">
              <a:solidFill>
                <a:schemeClr val="bg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eaLnBrk="1" hangingPunct="1">
              <a:spcBef>
                <a:spcPts val="600"/>
              </a:spcBef>
              <a:buFontTx/>
              <a:buChar char="•"/>
            </a:pPr>
            <a:r>
              <a:rPr lang="en-US" sz="3800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ffective social </a:t>
            </a:r>
            <a:r>
              <a:rPr lang="en-US" sz="38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rograms can have </a:t>
            </a:r>
            <a:r>
              <a:rPr lang="en-US" sz="3800" dirty="0" smtClean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ramatic impact </a:t>
            </a:r>
            <a:r>
              <a:rPr lang="en-US" sz="3800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t </a:t>
            </a:r>
            <a:r>
              <a:rPr lang="en-US" sz="3800" dirty="0" smtClean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cale </a:t>
            </a:r>
            <a:endParaRPr lang="en-US" sz="3800" dirty="0">
              <a:solidFill>
                <a:schemeClr val="tx2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eaLnBrk="1" hangingPunct="1">
              <a:spcBef>
                <a:spcPts val="600"/>
              </a:spcBef>
            </a:pPr>
            <a:endParaRPr lang="en-US" sz="2000" dirty="0">
              <a:solidFill>
                <a:schemeClr val="bg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2312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 cstate="print">
            <a:lum/>
          </a:blip>
          <a:srcRect/>
          <a:stretch>
            <a:fillRect l="-5000" r="-5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338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338"/>
                        <a:ext cx="1587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446283" y="2577884"/>
            <a:ext cx="8283037" cy="286232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 defTabSz="457200"/>
            <a:r>
              <a:rPr lang="en-US" sz="3600" b="1" spc="50" dirty="0" smtClean="0">
                <a:ln w="12700" cmpd="sng">
                  <a:solidFill>
                    <a:srgbClr val="800000"/>
                  </a:solidFill>
                  <a:prstDash val="solid"/>
                </a:ln>
                <a:solidFill>
                  <a:srgbClr val="4D4D4D">
                    <a:tint val="1000"/>
                  </a:srgbClr>
                </a:solidFill>
                <a:effectLst>
                  <a:glow rad="53100">
                    <a:srgbClr val="4D4D4D">
                      <a:satMod val="180000"/>
                      <a:alpha val="30000"/>
                    </a:srgbClr>
                  </a:glow>
                </a:effectLst>
                <a:latin typeface="Helvetica" panose="020B0604020202020204" pitchFamily="34" charset="0"/>
                <a:cs typeface="Helvetica" panose="020B0604020202020204" pitchFamily="34" charset="0"/>
              </a:rPr>
              <a:t>Geography and context are key,</a:t>
            </a:r>
          </a:p>
          <a:p>
            <a:pPr algn="ctr" defTabSz="457200"/>
            <a:r>
              <a:rPr lang="en-US" sz="3600" b="1" spc="50" dirty="0" smtClean="0">
                <a:ln w="12700" cmpd="sng">
                  <a:solidFill>
                    <a:srgbClr val="800000"/>
                  </a:solidFill>
                  <a:prstDash val="solid"/>
                </a:ln>
                <a:solidFill>
                  <a:srgbClr val="4D4D4D">
                    <a:tint val="1000"/>
                  </a:srgbClr>
                </a:solidFill>
                <a:effectLst>
                  <a:glow rad="53100">
                    <a:srgbClr val="4D4D4D">
                      <a:satMod val="180000"/>
                      <a:alpha val="30000"/>
                    </a:srgbClr>
                  </a:glow>
                </a:effectLst>
                <a:latin typeface="Helvetica" panose="020B0604020202020204" pitchFamily="34" charset="0"/>
                <a:cs typeface="Helvetica" panose="020B0604020202020204" pitchFamily="34" charset="0"/>
              </a:rPr>
              <a:t>but sharing lessons with each other</a:t>
            </a:r>
          </a:p>
          <a:p>
            <a:pPr algn="ctr" defTabSz="457200"/>
            <a:r>
              <a:rPr lang="en-US" sz="3600" b="1" spc="50" dirty="0">
                <a:ln w="12700" cmpd="sng">
                  <a:solidFill>
                    <a:srgbClr val="800000"/>
                  </a:solidFill>
                  <a:prstDash val="solid"/>
                </a:ln>
                <a:solidFill>
                  <a:srgbClr val="4D4D4D">
                    <a:tint val="1000"/>
                  </a:srgbClr>
                </a:solidFill>
                <a:effectLst>
                  <a:glow rad="53100">
                    <a:srgbClr val="4D4D4D">
                      <a:satMod val="180000"/>
                      <a:alpha val="30000"/>
                    </a:srgbClr>
                  </a:glow>
                </a:effectLst>
                <a:latin typeface="Helvetica" panose="020B0604020202020204" pitchFamily="34" charset="0"/>
                <a:cs typeface="Helvetica" panose="020B0604020202020204" pitchFamily="34" charset="0"/>
              </a:rPr>
              <a:t>m</a:t>
            </a:r>
            <a:r>
              <a:rPr lang="en-US" sz="3600" b="1" spc="50" dirty="0" smtClean="0">
                <a:ln w="12700" cmpd="sng">
                  <a:solidFill>
                    <a:srgbClr val="800000"/>
                  </a:solidFill>
                  <a:prstDash val="solid"/>
                </a:ln>
                <a:solidFill>
                  <a:srgbClr val="4D4D4D">
                    <a:tint val="1000"/>
                  </a:srgbClr>
                </a:solidFill>
                <a:effectLst>
                  <a:glow rad="53100">
                    <a:srgbClr val="4D4D4D">
                      <a:satMod val="180000"/>
                      <a:alpha val="30000"/>
                    </a:srgbClr>
                  </a:glow>
                </a:effectLst>
                <a:latin typeface="Helvetica" panose="020B0604020202020204" pitchFamily="34" charset="0"/>
                <a:cs typeface="Helvetica" panose="020B0604020202020204" pitchFamily="34" charset="0"/>
              </a:rPr>
              <a:t>ay help policymakers worldwide</a:t>
            </a:r>
          </a:p>
          <a:p>
            <a:pPr algn="ctr" defTabSz="457200"/>
            <a:r>
              <a:rPr lang="en-US" sz="3600" b="1" spc="50" dirty="0" smtClean="0">
                <a:ln w="12700" cmpd="sng">
                  <a:solidFill>
                    <a:srgbClr val="800000"/>
                  </a:solidFill>
                  <a:prstDash val="solid"/>
                </a:ln>
                <a:solidFill>
                  <a:srgbClr val="4D4D4D">
                    <a:tint val="1000"/>
                  </a:srgbClr>
                </a:solidFill>
                <a:effectLst>
                  <a:glow rad="53100">
                    <a:srgbClr val="4D4D4D">
                      <a:satMod val="180000"/>
                      <a:alpha val="30000"/>
                    </a:srgbClr>
                  </a:glow>
                </a:effectLst>
                <a:latin typeface="Helvetica" panose="020B0604020202020204" pitchFamily="34" charset="0"/>
                <a:cs typeface="Helvetica" panose="020B0604020202020204" pitchFamily="34" charset="0"/>
              </a:rPr>
              <a:t>design effective and cost-effective</a:t>
            </a:r>
          </a:p>
          <a:p>
            <a:pPr algn="ctr" defTabSz="457200"/>
            <a:r>
              <a:rPr lang="en-US" sz="3600" b="1" spc="50" dirty="0" smtClean="0">
                <a:ln w="12700" cmpd="sng">
                  <a:solidFill>
                    <a:srgbClr val="800000"/>
                  </a:solidFill>
                  <a:prstDash val="solid"/>
                </a:ln>
                <a:solidFill>
                  <a:srgbClr val="4D4D4D">
                    <a:tint val="1000"/>
                  </a:srgbClr>
                </a:solidFill>
                <a:effectLst>
                  <a:glow rad="53100">
                    <a:srgbClr val="4D4D4D">
                      <a:satMod val="180000"/>
                      <a:alpha val="30000"/>
                    </a:srgbClr>
                  </a:glow>
                </a:effectLst>
                <a:latin typeface="Helvetica" panose="020B0604020202020204" pitchFamily="34" charset="0"/>
                <a:cs typeface="Helvetica" panose="020B0604020202020204" pitchFamily="34" charset="0"/>
              </a:rPr>
              <a:t>approaches to create safer cities.</a:t>
            </a:r>
            <a:endParaRPr lang="en-US" sz="3600" b="1" spc="50" dirty="0">
              <a:ln w="12700" cmpd="sng">
                <a:solidFill>
                  <a:srgbClr val="800000"/>
                </a:solidFill>
                <a:prstDash val="solid"/>
              </a:ln>
              <a:solidFill>
                <a:srgbClr val="4D4D4D">
                  <a:tint val="1000"/>
                </a:srgbClr>
              </a:solidFill>
              <a:effectLst>
                <a:glow rad="53100">
                  <a:srgbClr val="4D4D4D">
                    <a:satMod val="180000"/>
                    <a:alpha val="30000"/>
                  </a:srgbClr>
                </a:glow>
              </a:effectLst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355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47409" b="82438"/>
          <a:stretch/>
        </p:blipFill>
        <p:spPr>
          <a:xfrm>
            <a:off x="4377769" y="952580"/>
            <a:ext cx="3813735" cy="669123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035184" y="3598411"/>
            <a:ext cx="259976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prstClr val="white"/>
                </a:solidFill>
                <a:latin typeface="Helvetica"/>
                <a:cs typeface="Helvetica"/>
              </a:rPr>
              <a:t>Helping cities make smarter bets to improve human lives at scale</a:t>
            </a:r>
          </a:p>
        </p:txBody>
      </p:sp>
    </p:spTree>
    <p:extLst>
      <p:ext uri="{BB962C8B-B14F-4D97-AF65-F5344CB8AC3E}">
        <p14:creationId xmlns:p14="http://schemas.microsoft.com/office/powerpoint/2010/main" val="1262369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3234523"/>
            <a:ext cx="266700" cy="4572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4035276"/>
            <a:ext cx="9144000" cy="4572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/>
          <p:cNvCxnSpPr/>
          <p:nvPr/>
        </p:nvCxnSpPr>
        <p:spPr>
          <a:xfrm flipH="1">
            <a:off x="0" y="4830000"/>
            <a:ext cx="9152698" cy="0"/>
          </a:xfrm>
          <a:prstGeom prst="line">
            <a:avLst/>
          </a:prstGeom>
          <a:ln w="19050">
            <a:solidFill>
              <a:srgbClr val="4C4C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6538852" y="4982399"/>
            <a:ext cx="685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20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6767452" y="1299770"/>
            <a:ext cx="0" cy="3682633"/>
          </a:xfrm>
          <a:prstGeom prst="line">
            <a:avLst/>
          </a:prstGeom>
          <a:ln w="19050">
            <a:solidFill>
              <a:srgbClr val="4C4C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0" y="3234523"/>
            <a:ext cx="293500" cy="4572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357222" y="3278457"/>
            <a:ext cx="17047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15.0    Latinos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101471" y="5362874"/>
            <a:ext cx="69410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ource: Centers for Disease Control and Prevention WISQARS, National Violent Death Reporting System (NVDRS)</a:t>
            </a:r>
            <a:endParaRPr lang="en-US" sz="10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99787" y="228600"/>
            <a:ext cx="81712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000" b="1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un </a:t>
            </a:r>
            <a:r>
              <a:rPr lang="en-US" sz="20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Homicide in the U.S.: </a:t>
            </a:r>
            <a:r>
              <a:rPr lang="en-US" sz="2000" b="1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ates per 100,000 </a:t>
            </a:r>
            <a:r>
              <a:rPr lang="en-US" sz="20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000" b="1" dirty="0" smtClean="0">
                <a:solidFill>
                  <a:srgbClr val="76767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(</a:t>
            </a:r>
            <a:r>
              <a:rPr lang="en-US" sz="2000" b="1" dirty="0">
                <a:solidFill>
                  <a:srgbClr val="76767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ales, ages 15-24)</a:t>
            </a:r>
            <a:endParaRPr lang="en-US" sz="20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458619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4035276"/>
            <a:ext cx="9144000" cy="4572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/>
          <p:cNvCxnSpPr/>
          <p:nvPr/>
        </p:nvCxnSpPr>
        <p:spPr>
          <a:xfrm flipH="1">
            <a:off x="0" y="4830000"/>
            <a:ext cx="9152698" cy="0"/>
          </a:xfrm>
          <a:prstGeom prst="line">
            <a:avLst/>
          </a:prstGeom>
          <a:ln w="19050">
            <a:solidFill>
              <a:srgbClr val="4C4C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6538852" y="4982399"/>
            <a:ext cx="685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30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6767452" y="1299770"/>
            <a:ext cx="0" cy="3682633"/>
          </a:xfrm>
          <a:prstGeom prst="line">
            <a:avLst/>
          </a:prstGeom>
          <a:ln w="19050">
            <a:solidFill>
              <a:srgbClr val="4C4C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1101471" y="5362874"/>
            <a:ext cx="69410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ource: Centers for Disease Control and Prevention WISQARS, National Violent Death Reporting System (NVDRS)</a:t>
            </a:r>
            <a:endParaRPr lang="en-US" sz="10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99787" y="228600"/>
            <a:ext cx="81712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000" b="1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un </a:t>
            </a:r>
            <a:r>
              <a:rPr lang="en-US" sz="20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Homicide in the U.S.: </a:t>
            </a:r>
            <a:r>
              <a:rPr lang="en-US" sz="2000" b="1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ates per 100,000 </a:t>
            </a:r>
            <a:r>
              <a:rPr lang="en-US" sz="20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000" b="1" dirty="0" smtClean="0">
                <a:solidFill>
                  <a:srgbClr val="76767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(</a:t>
            </a:r>
            <a:r>
              <a:rPr lang="en-US" sz="2000" b="1" dirty="0">
                <a:solidFill>
                  <a:srgbClr val="76767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ales, ages 15-24)</a:t>
            </a:r>
            <a:endParaRPr lang="en-US" sz="20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905418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4035276"/>
            <a:ext cx="9144000" cy="4572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/>
          <p:cNvCxnSpPr/>
          <p:nvPr/>
        </p:nvCxnSpPr>
        <p:spPr>
          <a:xfrm flipH="1">
            <a:off x="0" y="4830000"/>
            <a:ext cx="9152698" cy="0"/>
          </a:xfrm>
          <a:prstGeom prst="line">
            <a:avLst/>
          </a:prstGeom>
          <a:ln w="19050">
            <a:solidFill>
              <a:srgbClr val="4C4C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6538852" y="4982399"/>
            <a:ext cx="685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40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6767452" y="1299770"/>
            <a:ext cx="0" cy="3682633"/>
          </a:xfrm>
          <a:prstGeom prst="line">
            <a:avLst/>
          </a:prstGeom>
          <a:ln w="19050">
            <a:solidFill>
              <a:srgbClr val="4C4C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1101471" y="5362874"/>
            <a:ext cx="69410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ource: Centers for Disease Control and Prevention WISQARS, National Violent Death Reporting System (NVDRS)</a:t>
            </a:r>
            <a:endParaRPr lang="en-US" sz="10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99787" y="228600"/>
            <a:ext cx="81712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000" b="1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un </a:t>
            </a:r>
            <a:r>
              <a:rPr lang="en-US" sz="20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Homicide in the U.S.: </a:t>
            </a:r>
            <a:r>
              <a:rPr lang="en-US" sz="2000" b="1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ates per 100,000 </a:t>
            </a:r>
            <a:r>
              <a:rPr lang="en-US" sz="20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000" b="1" dirty="0" smtClean="0">
                <a:solidFill>
                  <a:srgbClr val="76767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(</a:t>
            </a:r>
            <a:r>
              <a:rPr lang="en-US" sz="2000" b="1" dirty="0">
                <a:solidFill>
                  <a:srgbClr val="76767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ales, ages 15-24)</a:t>
            </a:r>
            <a:endParaRPr lang="en-US" sz="20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093050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7" y="4035276"/>
            <a:ext cx="7321775" cy="4572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/>
          <p:cNvCxnSpPr/>
          <p:nvPr/>
        </p:nvCxnSpPr>
        <p:spPr>
          <a:xfrm flipH="1">
            <a:off x="0" y="4830000"/>
            <a:ext cx="9152698" cy="0"/>
          </a:xfrm>
          <a:prstGeom prst="line">
            <a:avLst/>
          </a:prstGeom>
          <a:ln w="19050">
            <a:solidFill>
              <a:srgbClr val="4C4C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6538852" y="4982399"/>
            <a:ext cx="685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0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6767452" y="1299770"/>
            <a:ext cx="0" cy="3682633"/>
          </a:xfrm>
          <a:prstGeom prst="line">
            <a:avLst/>
          </a:prstGeom>
          <a:ln w="19050">
            <a:solidFill>
              <a:srgbClr val="4C4C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1101471" y="5362874"/>
            <a:ext cx="69410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ource: Centers for Disease Control and Prevention WISQARS, National Violent Death Reporting System (NVDRS)</a:t>
            </a:r>
            <a:endParaRPr lang="en-US" sz="10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019969" y="2440829"/>
            <a:ext cx="967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Whites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019969" y="4079208"/>
            <a:ext cx="967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Blacks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019969" y="3278457"/>
            <a:ext cx="967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Latinos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703820" y="1542149"/>
            <a:ext cx="14273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High-Income Countries</a:t>
            </a:r>
            <a:endParaRPr lang="en-US" sz="16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321775" y="4083256"/>
            <a:ext cx="838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53.2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99787" y="228600"/>
            <a:ext cx="81712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000" b="1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un </a:t>
            </a:r>
            <a:r>
              <a:rPr lang="en-US" sz="20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Homicide in the U.S.: </a:t>
            </a:r>
            <a:r>
              <a:rPr lang="en-US" sz="2000" b="1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ates per 100,000 </a:t>
            </a:r>
            <a:r>
              <a:rPr lang="en-US" sz="2000" b="1" dirty="0" smtClean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000" b="1" dirty="0" smtClean="0">
                <a:solidFill>
                  <a:srgbClr val="76767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(</a:t>
            </a:r>
            <a:r>
              <a:rPr lang="en-US" sz="2000" b="1" dirty="0">
                <a:solidFill>
                  <a:srgbClr val="76767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ales, ages 15-24)</a:t>
            </a:r>
            <a:endParaRPr lang="en-US" sz="20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332455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0391072"/>
              </p:ext>
            </p:extLst>
          </p:nvPr>
        </p:nvGraphicFramePr>
        <p:xfrm>
          <a:off x="220146" y="801411"/>
          <a:ext cx="8703733" cy="44626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850309" y="268011"/>
            <a:ext cx="77235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135"/>
            <a:r>
              <a:rPr lang="en-US" sz="2800" b="1" dirty="0">
                <a:solidFill>
                  <a:srgbClr val="8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ortality Rate by Cause of Death, 1950-2013</a:t>
            </a:r>
          </a:p>
        </p:txBody>
      </p:sp>
    </p:spTree>
    <p:extLst>
      <p:ext uri="{BB962C8B-B14F-4D97-AF65-F5344CB8AC3E}">
        <p14:creationId xmlns:p14="http://schemas.microsoft.com/office/powerpoint/2010/main" val="648327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UofC Colors">
      <a:dk1>
        <a:sysClr val="windowText" lastClr="000000"/>
      </a:dk1>
      <a:lt1>
        <a:sysClr val="window" lastClr="FFFFFF"/>
      </a:lt1>
      <a:dk2>
        <a:srgbClr val="800000"/>
      </a:dk2>
      <a:lt2>
        <a:srgbClr val="767676"/>
      </a:lt2>
      <a:accent1>
        <a:srgbClr val="D6D6CE"/>
      </a:accent1>
      <a:accent2>
        <a:srgbClr val="8F3931"/>
      </a:accent2>
      <a:accent3>
        <a:srgbClr val="BA7B76"/>
      </a:accent3>
      <a:accent4>
        <a:srgbClr val="6D3227"/>
      </a:accent4>
      <a:accent5>
        <a:srgbClr val="F8A429"/>
      </a:accent5>
      <a:accent6>
        <a:srgbClr val="155F83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/>
      <a:lstStyle>
        <a:defPPr>
          <a:defRPr dirty="0" smtClean="0">
            <a:solidFill>
              <a:srgbClr val="191918"/>
            </a:solidFill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7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8A002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rtlCol="0">
        <a:spAutoFit/>
      </a:bodyPr>
      <a:lstStyle>
        <a:defPPr>
          <a:defRPr smtClean="0">
            <a:solidFill>
              <a:srgbClr val="191918"/>
            </a:solidFill>
            <a:latin typeface="Graphik" charset="0"/>
            <a:ea typeface="Graphik" charset="0"/>
            <a:cs typeface="Graphik" charset="0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8A002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rtlCol="0">
        <a:spAutoFit/>
      </a:bodyPr>
      <a:lstStyle>
        <a:defPPr>
          <a:defRPr smtClean="0">
            <a:solidFill>
              <a:srgbClr val="191918"/>
            </a:solidFill>
            <a:latin typeface="Graphik" charset="0"/>
            <a:ea typeface="Graphik" charset="0"/>
            <a:cs typeface="Graphik" charset="0"/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9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7C062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rtlCol="0">
        <a:spAutoFit/>
      </a:bodyPr>
      <a:lstStyle>
        <a:defPPr>
          <a:defRPr smtClean="0">
            <a:solidFill>
              <a:srgbClr val="191918"/>
            </a:solidFill>
            <a:latin typeface="Graphik" charset="0"/>
            <a:ea typeface="Graphik" charset="0"/>
            <a:cs typeface="Graphik" charset="0"/>
          </a:defRPr>
        </a:defPPr>
      </a:lstStyle>
    </a:txDef>
  </a:objectDefaults>
  <a:extraClrSchemeLst/>
</a:theme>
</file>

<file path=ppt/theme/theme13.xml><?xml version="1.0" encoding="utf-8"?>
<a:theme xmlns:a="http://schemas.openxmlformats.org/drawingml/2006/main" name="10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7C062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rtlCol="0">
        <a:spAutoFit/>
      </a:bodyPr>
      <a:lstStyle>
        <a:defPPr>
          <a:defRPr smtClean="0">
            <a:solidFill>
              <a:srgbClr val="191918"/>
            </a:solidFill>
            <a:latin typeface="Graphik" charset="0"/>
            <a:ea typeface="Graphik" charset="0"/>
            <a:cs typeface="Graphik" charset="0"/>
          </a:defRPr>
        </a:defPPr>
      </a:lstStyle>
    </a:txDef>
  </a:objectDefaults>
  <a:extraClrSchemeLst/>
</a:theme>
</file>

<file path=ppt/theme/theme14.xml><?xml version="1.0" encoding="utf-8"?>
<a:theme xmlns:a="http://schemas.openxmlformats.org/drawingml/2006/main" name="1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8A002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rtlCol="0">
        <a:spAutoFit/>
      </a:bodyPr>
      <a:lstStyle>
        <a:defPPr>
          <a:defRPr smtClean="0">
            <a:solidFill>
              <a:srgbClr val="191918"/>
            </a:solidFill>
            <a:latin typeface="Graphik" charset="0"/>
            <a:ea typeface="Graphik" charset="0"/>
            <a:cs typeface="Graphik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12_Custom Design">
  <a:themeElements>
    <a:clrScheme name="UofC Colors">
      <a:dk1>
        <a:sysClr val="windowText" lastClr="000000"/>
      </a:dk1>
      <a:lt1>
        <a:sysClr val="window" lastClr="FFFFFF"/>
      </a:lt1>
      <a:dk2>
        <a:srgbClr val="800000"/>
      </a:dk2>
      <a:lt2>
        <a:srgbClr val="767676"/>
      </a:lt2>
      <a:accent1>
        <a:srgbClr val="D6D6CE"/>
      </a:accent1>
      <a:accent2>
        <a:srgbClr val="8F3931"/>
      </a:accent2>
      <a:accent3>
        <a:srgbClr val="BA7B76"/>
      </a:accent3>
      <a:accent4>
        <a:srgbClr val="6D3227"/>
      </a:accent4>
      <a:accent5>
        <a:srgbClr val="F8A429"/>
      </a:accent5>
      <a:accent6>
        <a:srgbClr val="155F83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/>
      <a:lstStyle>
        <a:defPPr>
          <a:defRPr dirty="0" smtClean="0">
            <a:solidFill>
              <a:srgbClr val="191918"/>
            </a:solidFill>
          </a:defRPr>
        </a:defPPr>
      </a:lstStyle>
    </a:txDef>
  </a:objectDefaults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Edge">
  <a:themeElements>
    <a:clrScheme name="1_Edge 2">
      <a:dk1>
        <a:srgbClr val="333333"/>
      </a:dk1>
      <a:lt1>
        <a:srgbClr val="CCCCFF"/>
      </a:lt1>
      <a:dk2>
        <a:srgbClr val="0B0506"/>
      </a:dk2>
      <a:lt2>
        <a:srgbClr val="FFFFFF"/>
      </a:lt2>
      <a:accent1>
        <a:srgbClr val="3366CC"/>
      </a:accent1>
      <a:accent2>
        <a:srgbClr val="3333CC"/>
      </a:accent2>
      <a:accent3>
        <a:srgbClr val="AAAAAA"/>
      </a:accent3>
      <a:accent4>
        <a:srgbClr val="AEAEDA"/>
      </a:accent4>
      <a:accent5>
        <a:srgbClr val="ADB8E2"/>
      </a:accent5>
      <a:accent6>
        <a:srgbClr val="2D2DB9"/>
      </a:accent6>
      <a:hlink>
        <a:srgbClr val="808080"/>
      </a:hlink>
      <a:folHlink>
        <a:srgbClr val="666633"/>
      </a:folHlink>
    </a:clrScheme>
    <a:fontScheme name="1_Edge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Edge 1">
        <a:dk1>
          <a:srgbClr val="333333"/>
        </a:dk1>
        <a:lt1>
          <a:srgbClr val="FFFFFF"/>
        </a:lt1>
        <a:dk2>
          <a:srgbClr val="820000"/>
        </a:dk2>
        <a:lt2>
          <a:srgbClr val="FFFFFF"/>
        </a:lt2>
        <a:accent1>
          <a:srgbClr val="FF9900"/>
        </a:accent1>
        <a:accent2>
          <a:srgbClr val="CC3300"/>
        </a:accent2>
        <a:accent3>
          <a:srgbClr val="C1AAAA"/>
        </a:accent3>
        <a:accent4>
          <a:srgbClr val="DADADA"/>
        </a:accent4>
        <a:accent5>
          <a:srgbClr val="FFCAAA"/>
        </a:accent5>
        <a:accent6>
          <a:srgbClr val="B92D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dge 2">
        <a:dk1>
          <a:srgbClr val="333333"/>
        </a:dk1>
        <a:lt1>
          <a:srgbClr val="CCCCFF"/>
        </a:lt1>
        <a:dk2>
          <a:srgbClr val="0B0506"/>
        </a:dk2>
        <a:lt2>
          <a:srgbClr val="FFFFFF"/>
        </a:lt2>
        <a:accent1>
          <a:srgbClr val="3366CC"/>
        </a:accent1>
        <a:accent2>
          <a:srgbClr val="3333CC"/>
        </a:accent2>
        <a:accent3>
          <a:srgbClr val="AAAAAA"/>
        </a:accent3>
        <a:accent4>
          <a:srgbClr val="AEAEDA"/>
        </a:accent4>
        <a:accent5>
          <a:srgbClr val="ADB8E2"/>
        </a:accent5>
        <a:accent6>
          <a:srgbClr val="2D2DB9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dge 3">
        <a:dk1>
          <a:srgbClr val="333333"/>
        </a:dk1>
        <a:lt1>
          <a:srgbClr val="FFFFFF"/>
        </a:lt1>
        <a:dk2>
          <a:srgbClr val="221013"/>
        </a:dk2>
        <a:lt2>
          <a:srgbClr val="FFFFFF"/>
        </a:lt2>
        <a:accent1>
          <a:srgbClr val="CC3300"/>
        </a:accent1>
        <a:accent2>
          <a:srgbClr val="CC9900"/>
        </a:accent2>
        <a:accent3>
          <a:srgbClr val="ABAAAA"/>
        </a:accent3>
        <a:accent4>
          <a:srgbClr val="DADADA"/>
        </a:accent4>
        <a:accent5>
          <a:srgbClr val="E2ADAA"/>
        </a:accent5>
        <a:accent6>
          <a:srgbClr val="B98A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dge 4">
        <a:dk1>
          <a:srgbClr val="11054B"/>
        </a:dk1>
        <a:lt1>
          <a:srgbClr val="FFFFFF"/>
        </a:lt1>
        <a:dk2>
          <a:srgbClr val="0000CC"/>
        </a:dk2>
        <a:lt2>
          <a:srgbClr val="FFFFFF"/>
        </a:lt2>
        <a:accent1>
          <a:srgbClr val="FF6600"/>
        </a:accent1>
        <a:accent2>
          <a:srgbClr val="FF3300"/>
        </a:accent2>
        <a:accent3>
          <a:srgbClr val="AAAAE2"/>
        </a:accent3>
        <a:accent4>
          <a:srgbClr val="DADADA"/>
        </a:accent4>
        <a:accent5>
          <a:srgbClr val="FFB8AA"/>
        </a:accent5>
        <a:accent6>
          <a:srgbClr val="E72D00"/>
        </a:accent6>
        <a:hlink>
          <a:srgbClr val="CC99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dge 5">
        <a:dk1>
          <a:srgbClr val="9B8D65"/>
        </a:dk1>
        <a:lt1>
          <a:srgbClr val="F8F8F8"/>
        </a:lt1>
        <a:dk2>
          <a:srgbClr val="002600"/>
        </a:dk2>
        <a:lt2>
          <a:srgbClr val="FAFACC"/>
        </a:lt2>
        <a:accent1>
          <a:srgbClr val="CC9933"/>
        </a:accent1>
        <a:accent2>
          <a:srgbClr val="8F9967"/>
        </a:accent2>
        <a:accent3>
          <a:srgbClr val="AAACAA"/>
        </a:accent3>
        <a:accent4>
          <a:srgbClr val="D4D4D4"/>
        </a:accent4>
        <a:accent5>
          <a:srgbClr val="E2CAAD"/>
        </a:accent5>
        <a:accent6>
          <a:srgbClr val="818A5D"/>
        </a:accent6>
        <a:hlink>
          <a:srgbClr val="3366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dge 6">
        <a:dk1>
          <a:srgbClr val="333333"/>
        </a:dk1>
        <a:lt1>
          <a:srgbClr val="FFFFFF"/>
        </a:lt1>
        <a:dk2>
          <a:srgbClr val="006699"/>
        </a:dk2>
        <a:lt2>
          <a:srgbClr val="FFFFFF"/>
        </a:lt2>
        <a:accent1>
          <a:srgbClr val="CC9900"/>
        </a:accent1>
        <a:accent2>
          <a:srgbClr val="FF9900"/>
        </a:accent2>
        <a:accent3>
          <a:srgbClr val="AAB8CA"/>
        </a:accent3>
        <a:accent4>
          <a:srgbClr val="DADADA"/>
        </a:accent4>
        <a:accent5>
          <a:srgbClr val="E2CAAA"/>
        </a:accent5>
        <a:accent6>
          <a:srgbClr val="E78A00"/>
        </a:accent6>
        <a:hlink>
          <a:srgbClr val="FFCC00"/>
        </a:hlink>
        <a:folHlink>
          <a:srgbClr val="706F3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dge 7">
        <a:dk1>
          <a:srgbClr val="000000"/>
        </a:dk1>
        <a:lt1>
          <a:srgbClr val="FFFFFF"/>
        </a:lt1>
        <a:dk2>
          <a:srgbClr val="006633"/>
        </a:dk2>
        <a:lt2>
          <a:srgbClr val="5F5F5F"/>
        </a:lt2>
        <a:accent1>
          <a:srgbClr val="CC9900"/>
        </a:accent1>
        <a:accent2>
          <a:srgbClr val="3B812F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35742A"/>
        </a:accent6>
        <a:hlink>
          <a:srgbClr val="996600"/>
        </a:hlink>
        <a:folHlink>
          <a:srgbClr val="AFBF3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dge 8">
        <a:dk1>
          <a:srgbClr val="000000"/>
        </a:dk1>
        <a:lt1>
          <a:srgbClr val="FFFFFF"/>
        </a:lt1>
        <a:dk2>
          <a:srgbClr val="CC0000"/>
        </a:dk2>
        <a:lt2>
          <a:srgbClr val="666699"/>
        </a:lt2>
        <a:accent1>
          <a:srgbClr val="808080"/>
        </a:accent1>
        <a:accent2>
          <a:srgbClr val="999933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8A8A2D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dge 9">
        <a:dk1>
          <a:srgbClr val="000000"/>
        </a:dk1>
        <a:lt1>
          <a:srgbClr val="FFFFFF"/>
        </a:lt1>
        <a:dk2>
          <a:srgbClr val="003399"/>
        </a:dk2>
        <a:lt2>
          <a:srgbClr val="666699"/>
        </a:lt2>
        <a:accent1>
          <a:srgbClr val="009999"/>
        </a:accent1>
        <a:accent2>
          <a:srgbClr val="4C6D4E"/>
        </a:accent2>
        <a:accent3>
          <a:srgbClr val="FFFFFF"/>
        </a:accent3>
        <a:accent4>
          <a:srgbClr val="000000"/>
        </a:accent4>
        <a:accent5>
          <a:srgbClr val="AACACA"/>
        </a:accent5>
        <a:accent6>
          <a:srgbClr val="446246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/>
      <a:lstStyle>
        <a:defPPr>
          <a:defRPr dirty="0" smtClean="0">
            <a:solidFill>
              <a:srgbClr val="191918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Custom Design">
  <a:themeElements>
    <a:clrScheme name="UofC Colors">
      <a:dk1>
        <a:sysClr val="windowText" lastClr="000000"/>
      </a:dk1>
      <a:lt1>
        <a:sysClr val="window" lastClr="FFFFFF"/>
      </a:lt1>
      <a:dk2>
        <a:srgbClr val="800000"/>
      </a:dk2>
      <a:lt2>
        <a:srgbClr val="767676"/>
      </a:lt2>
      <a:accent1>
        <a:srgbClr val="D6D6CE"/>
      </a:accent1>
      <a:accent2>
        <a:srgbClr val="8F3931"/>
      </a:accent2>
      <a:accent3>
        <a:srgbClr val="BA7B76"/>
      </a:accent3>
      <a:accent4>
        <a:srgbClr val="6D3227"/>
      </a:accent4>
      <a:accent5>
        <a:srgbClr val="F8A429"/>
      </a:accent5>
      <a:accent6>
        <a:srgbClr val="155F83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/>
      <a:lstStyle>
        <a:defPPr>
          <a:defRPr dirty="0" smtClean="0">
            <a:solidFill>
              <a:srgbClr val="191918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Custom Design">
  <a:themeElements>
    <a:clrScheme name="UofC Colors">
      <a:dk1>
        <a:sysClr val="windowText" lastClr="000000"/>
      </a:dk1>
      <a:lt1>
        <a:sysClr val="window" lastClr="FFFFFF"/>
      </a:lt1>
      <a:dk2>
        <a:srgbClr val="800000"/>
      </a:dk2>
      <a:lt2>
        <a:srgbClr val="767676"/>
      </a:lt2>
      <a:accent1>
        <a:srgbClr val="D6D6CE"/>
      </a:accent1>
      <a:accent2>
        <a:srgbClr val="8F3931"/>
      </a:accent2>
      <a:accent3>
        <a:srgbClr val="BA7B76"/>
      </a:accent3>
      <a:accent4>
        <a:srgbClr val="6D3227"/>
      </a:accent4>
      <a:accent5>
        <a:srgbClr val="F8A429"/>
      </a:accent5>
      <a:accent6>
        <a:srgbClr val="155F83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/>
      <a:lstStyle>
        <a:defPPr>
          <a:defRPr dirty="0" smtClean="0">
            <a:solidFill>
              <a:srgbClr val="191918"/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4_Custom Design">
  <a:themeElements>
    <a:clrScheme name="UofC Colors">
      <a:dk1>
        <a:sysClr val="windowText" lastClr="000000"/>
      </a:dk1>
      <a:lt1>
        <a:sysClr val="window" lastClr="FFFFFF"/>
      </a:lt1>
      <a:dk2>
        <a:srgbClr val="800000"/>
      </a:dk2>
      <a:lt2>
        <a:srgbClr val="767676"/>
      </a:lt2>
      <a:accent1>
        <a:srgbClr val="D6D6CE"/>
      </a:accent1>
      <a:accent2>
        <a:srgbClr val="8F3931"/>
      </a:accent2>
      <a:accent3>
        <a:srgbClr val="BA7B76"/>
      </a:accent3>
      <a:accent4>
        <a:srgbClr val="6D3227"/>
      </a:accent4>
      <a:accent5>
        <a:srgbClr val="F8A429"/>
      </a:accent5>
      <a:accent6>
        <a:srgbClr val="155F83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/>
      <a:lstStyle>
        <a:defPPr>
          <a:defRPr dirty="0" smtClean="0">
            <a:solidFill>
              <a:srgbClr val="191918"/>
            </a:soli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3_Office Them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7C062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rtlCol="0">
        <a:spAutoFit/>
      </a:bodyPr>
      <a:lstStyle>
        <a:defPPr>
          <a:defRPr smtClean="0">
            <a:solidFill>
              <a:srgbClr val="191918"/>
            </a:solidFill>
            <a:latin typeface="Graphik" charset="0"/>
            <a:ea typeface="Graphik" charset="0"/>
            <a:cs typeface="Graphik" charset="0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8A002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rtlCol="0">
        <a:spAutoFit/>
      </a:bodyPr>
      <a:lstStyle>
        <a:defPPr>
          <a:defRPr smtClean="0">
            <a:solidFill>
              <a:srgbClr val="191918"/>
            </a:solidFill>
            <a:latin typeface="Graphik" charset="0"/>
            <a:ea typeface="Graphik" charset="0"/>
            <a:cs typeface="Graphik" charset="0"/>
          </a:defRPr>
        </a:defPPr>
      </a:lstStyle>
    </a:tx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45</TotalTime>
  <Words>987</Words>
  <Application>Microsoft Office PowerPoint</Application>
  <PresentationFormat>Presentación en pantalla (16:10)</PresentationFormat>
  <Paragraphs>205</Paragraphs>
  <Slides>43</Slides>
  <Notes>43</Notes>
  <HiddenSlides>0</HiddenSlides>
  <MMClips>0</MMClips>
  <ScaleCrop>false</ScaleCrop>
  <HeadingPairs>
    <vt:vector size="8" baseType="variant">
      <vt:variant>
        <vt:lpstr>Fuentes usadas</vt:lpstr>
      </vt:variant>
      <vt:variant>
        <vt:i4>18</vt:i4>
      </vt:variant>
      <vt:variant>
        <vt:lpstr>Tema</vt:lpstr>
      </vt:variant>
      <vt:variant>
        <vt:i4>16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3</vt:i4>
      </vt:variant>
    </vt:vector>
  </HeadingPairs>
  <TitlesOfParts>
    <vt:vector size="78" baseType="lpstr">
      <vt:lpstr>ＭＳ Ｐゴシック</vt:lpstr>
      <vt:lpstr>SimSun</vt:lpstr>
      <vt:lpstr>Arial</vt:lpstr>
      <vt:lpstr>Calibri</vt:lpstr>
      <vt:lpstr>Century Gothic</vt:lpstr>
      <vt:lpstr>Garamond</vt:lpstr>
      <vt:lpstr>Graphik</vt:lpstr>
      <vt:lpstr>Graphik Bold</vt:lpstr>
      <vt:lpstr>Graphik Extralight</vt:lpstr>
      <vt:lpstr>Graphik Light</vt:lpstr>
      <vt:lpstr>Graphik Medium</vt:lpstr>
      <vt:lpstr>Graphik Regular</vt:lpstr>
      <vt:lpstr>Graphik Semibold</vt:lpstr>
      <vt:lpstr>Helvetica</vt:lpstr>
      <vt:lpstr>Lucida Grande</vt:lpstr>
      <vt:lpstr>Symbol</vt:lpstr>
      <vt:lpstr>Times New Roman</vt:lpstr>
      <vt:lpstr>Wingdings</vt:lpstr>
      <vt:lpstr>Custom Design</vt:lpstr>
      <vt:lpstr>1_Edge</vt:lpstr>
      <vt:lpstr>1_Custom Design</vt:lpstr>
      <vt:lpstr>2_Custom Design</vt:lpstr>
      <vt:lpstr>3_Custom Design</vt:lpstr>
      <vt:lpstr>4_Custom Design</vt:lpstr>
      <vt:lpstr>3_Office Theme</vt:lpstr>
      <vt:lpstr>5_Custom Design</vt:lpstr>
      <vt:lpstr>6_Custom Design</vt:lpstr>
      <vt:lpstr>7_Custom Design</vt:lpstr>
      <vt:lpstr>8_Custom Design</vt:lpstr>
      <vt:lpstr>9_Custom Design</vt:lpstr>
      <vt:lpstr>10_Custom Design</vt:lpstr>
      <vt:lpstr>11_Custom Design</vt:lpstr>
      <vt:lpstr>12_Custom Design</vt:lpstr>
      <vt:lpstr>Office Theme</vt:lpstr>
      <vt:lpstr>think-cell Slide</vt:lpstr>
      <vt:lpstr> Preventing dropout and youth violence:  Lessons and observations from Chicago</vt:lpstr>
      <vt:lpstr>Violence Worldwide</vt:lpstr>
      <vt:lpstr>Disproportionate Effect on Youth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For all a and b,  6a2b3 – 3a2b is equivalent to which of the expressions?  If 3x – 10 = 24, then x = ? </vt:lpstr>
      <vt:lpstr>8 + 14 – 7  7 x 4 </vt:lpstr>
      <vt:lpstr>Presentación de PowerPoint</vt:lpstr>
      <vt:lpstr>Presentación de PowerPoint</vt:lpstr>
      <vt:lpstr>Gain in math scores by 30% of B-W gap  (equal to 1 to 2 years of extra math learning, in 1 year)</vt:lpstr>
      <vt:lpstr>Presentación de PowerPoint</vt:lpstr>
      <vt:lpstr>Presentación de PowerPoint</vt:lpstr>
      <vt:lpstr>Presentación de PowerPoint</vt:lpstr>
      <vt:lpstr>Presentación de PowerPoint</vt:lpstr>
      <vt:lpstr>“20 percent of our residents are criminals, they just need to be locked up. But the other 80 percent, I always tell them – if I could give them back just ten minutes of their lives, most of them wouldn’t be here.”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It takes a city…  - Government and agency partners - Non-profit partners - Access to data - Funding </vt:lpstr>
      <vt:lpstr>Implementing RCTs in schools…  - Partnering with schools  - Leveraging (or developing) an   administrative data infrastructure  - Accessing data  - Fidelity to randomization</vt:lpstr>
      <vt:lpstr>No shortage of innovation  it’s evidence that is in short supply   Best projects are defined jointly by policymakers and researchers   Effective social programs can have dramatic impact at scale  </vt:lpstr>
      <vt:lpstr>Presentación de PowerPoint</vt:lpstr>
      <vt:lpstr>Presentación de PowerPoint</vt:lpstr>
    </vt:vector>
  </TitlesOfParts>
  <Company>Leo Burnet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cott Cress</dc:creator>
  <cp:lastModifiedBy>Luis Enrique Madrid</cp:lastModifiedBy>
  <cp:revision>217</cp:revision>
  <cp:lastPrinted>2016-06-17T17:03:28Z</cp:lastPrinted>
  <dcterms:created xsi:type="dcterms:W3CDTF">2015-09-24T15:47:32Z</dcterms:created>
  <dcterms:modified xsi:type="dcterms:W3CDTF">2016-06-28T16:43:05Z</dcterms:modified>
</cp:coreProperties>
</file>